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ags/tag148.xml" ContentType="application/vnd.openxmlformats-officedocument.presentationml.tags+xml"/>
  <Override PartName="/ppt/notesSlides/notesSlide1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65" r:id="rId4"/>
    <p:sldMasterId id="2147484133" r:id="rId5"/>
    <p:sldMasterId id="2147483979" r:id="rId6"/>
    <p:sldMasterId id="2147484012" r:id="rId7"/>
    <p:sldMasterId id="2147484029" r:id="rId8"/>
    <p:sldMasterId id="2147484043" r:id="rId9"/>
    <p:sldMasterId id="2147484057" r:id="rId10"/>
    <p:sldMasterId id="2147484073" r:id="rId11"/>
    <p:sldMasterId id="2147484090" r:id="rId12"/>
    <p:sldMasterId id="2147484107" r:id="rId13"/>
    <p:sldMasterId id="2147484138" r:id="rId14"/>
    <p:sldMasterId id="2147484153" r:id="rId15"/>
  </p:sldMasterIdLst>
  <p:notesMasterIdLst>
    <p:notesMasterId r:id="rId42"/>
  </p:notesMasterIdLst>
  <p:handoutMasterIdLst>
    <p:handoutMasterId r:id="rId43"/>
  </p:handoutMasterIdLst>
  <p:sldIdLst>
    <p:sldId id="743" r:id="rId16"/>
    <p:sldId id="872" r:id="rId17"/>
    <p:sldId id="914" r:id="rId18"/>
    <p:sldId id="885" r:id="rId19"/>
    <p:sldId id="931" r:id="rId20"/>
    <p:sldId id="941" r:id="rId21"/>
    <p:sldId id="920" r:id="rId22"/>
    <p:sldId id="934" r:id="rId23"/>
    <p:sldId id="935" r:id="rId24"/>
    <p:sldId id="954" r:id="rId25"/>
    <p:sldId id="897" r:id="rId26"/>
    <p:sldId id="951" r:id="rId27"/>
    <p:sldId id="930" r:id="rId28"/>
    <p:sldId id="927" r:id="rId29"/>
    <p:sldId id="936" r:id="rId30"/>
    <p:sldId id="942" r:id="rId31"/>
    <p:sldId id="898" r:id="rId32"/>
    <p:sldId id="899" r:id="rId33"/>
    <p:sldId id="944" r:id="rId34"/>
    <p:sldId id="908" r:id="rId35"/>
    <p:sldId id="953" r:id="rId36"/>
    <p:sldId id="946" r:id="rId37"/>
    <p:sldId id="947" r:id="rId38"/>
    <p:sldId id="948" r:id="rId39"/>
    <p:sldId id="949" r:id="rId40"/>
    <p:sldId id="950" r:id="rId41"/>
  </p:sldIdLst>
  <p:sldSz cx="9906000" cy="6858000" type="A4"/>
  <p:notesSz cx="7315200" cy="9601200"/>
  <p:custDataLst>
    <p:tags r:id="rId4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4065">
          <p15:clr>
            <a:srgbClr val="A4A3A4"/>
          </p15:clr>
        </p15:guide>
        <p15:guide id="3" pos="217">
          <p15:clr>
            <a:srgbClr val="A4A3A4"/>
          </p15:clr>
        </p15:guide>
        <p15:guide id="4" pos="5978">
          <p15:clr>
            <a:srgbClr val="A4A3A4"/>
          </p15:clr>
        </p15:guide>
        <p15:guide id="5" orient="horz" pos="2840">
          <p15:clr>
            <a:srgbClr val="A4A3A4"/>
          </p15:clr>
        </p15:guide>
        <p15:guide id="6" orient="horz" pos="890">
          <p15:clr>
            <a:srgbClr val="A4A3A4"/>
          </p15:clr>
        </p15:guide>
        <p15:guide id="7" orient="horz" pos="3884">
          <p15:clr>
            <a:srgbClr val="A4A3A4"/>
          </p15:clr>
        </p15:guide>
        <p15:guide id="8" orient="horz" pos="1389">
          <p15:clr>
            <a:srgbClr val="A4A3A4"/>
          </p15:clr>
        </p15:guide>
        <p15:guide id="9" pos="305">
          <p15:clr>
            <a:srgbClr val="A4A3A4"/>
          </p15:clr>
        </p15:guide>
        <p15:guide id="10" pos="60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4336"/>
    <a:srgbClr val="A50021"/>
    <a:srgbClr val="BA0025"/>
    <a:srgbClr val="933162"/>
    <a:srgbClr val="7F7F7F"/>
    <a:srgbClr val="E6E6E6"/>
    <a:srgbClr val="993366"/>
    <a:srgbClr val="37565F"/>
    <a:srgbClr val="FFD966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87" autoAdjust="0"/>
    <p:restoredTop sz="93867" autoAdjust="0"/>
  </p:normalViewPr>
  <p:slideViewPr>
    <p:cSldViewPr snapToObjects="1">
      <p:cViewPr varScale="1">
        <p:scale>
          <a:sx n="90" d="100"/>
          <a:sy n="90" d="100"/>
        </p:scale>
        <p:origin x="1338" y="78"/>
      </p:cViewPr>
      <p:guideLst>
        <p:guide orient="horz" pos="618"/>
        <p:guide orient="horz" pos="4065"/>
        <p:guide pos="217"/>
        <p:guide pos="5978"/>
        <p:guide orient="horz" pos="2840"/>
        <p:guide orient="horz" pos="890"/>
        <p:guide orient="horz" pos="3884"/>
        <p:guide orient="horz" pos="1389"/>
        <p:guide pos="305"/>
        <p:guide pos="60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47" d="100"/>
          <a:sy n="47" d="100"/>
        </p:scale>
        <p:origin x="-2688" y="-82"/>
      </p:cViewPr>
      <p:guideLst>
        <p:guide orient="horz" pos="3109"/>
        <p:guide pos="2142"/>
        <p:guide orient="horz" pos="3024"/>
        <p:guide pos="2305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70717" cy="480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775" y="1"/>
            <a:ext cx="3170717" cy="480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EAF458E-338F-4C79-8E1F-624020FCE313}" type="datetimeFigureOut">
              <a:rPr lang="en-US"/>
              <a:pPr>
                <a:defRPr/>
              </a:pPr>
              <a:t>12/2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19519"/>
            <a:ext cx="3170717" cy="4801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Blank.po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775" y="9119519"/>
            <a:ext cx="3170717" cy="4801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BDED720-39B0-4DAF-9C53-E753DAD284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82080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70717" cy="480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2775" y="1"/>
            <a:ext cx="3170717" cy="480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C54B1F5-60EA-4F7B-BCF7-6B2316863496}" type="datetimeFigureOut">
              <a:rPr lang="en-GB"/>
              <a:pPr>
                <a:defRPr/>
              </a:pPr>
              <a:t>21/12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719138"/>
            <a:ext cx="5203825" cy="3602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180" y="4560532"/>
            <a:ext cx="5852843" cy="43212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519"/>
            <a:ext cx="3170717" cy="4801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2775" y="9119519"/>
            <a:ext cx="3170717" cy="4801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8E3971F-5A65-4713-8934-77774D1688B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20240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352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585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2742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85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159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46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0889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39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2242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8225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257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5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491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2.jpeg"/><Relationship Id="rId2" Type="http://schemas.openxmlformats.org/officeDocument/2006/relationships/tags" Target="../tags/tag11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4.wmf"/><Relationship Id="rId2" Type="http://schemas.openxmlformats.org/officeDocument/2006/relationships/tags" Target="../tags/tag111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oleObject" Target="../embeddings/oleObject94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oleObject" Target="../embeddings/oleObject97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w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3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2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2.jpeg"/><Relationship Id="rId2" Type="http://schemas.openxmlformats.org/officeDocument/2006/relationships/tags" Target="../tags/tag12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4.wmf"/><Relationship Id="rId2" Type="http://schemas.openxmlformats.org/officeDocument/2006/relationships/tags" Target="../tags/tag12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oleObject" Target="../embeddings/oleObject112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3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2.jpeg"/><Relationship Id="rId2" Type="http://schemas.openxmlformats.org/officeDocument/2006/relationships/tags" Target="../tags/tag143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4.wmf"/><Relationship Id="rId2" Type="http://schemas.openxmlformats.org/officeDocument/2006/relationships/tags" Target="../tags/tag144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7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5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9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2.xml"/><Relationship Id="rId7" Type="http://schemas.openxmlformats.org/officeDocument/2006/relationships/image" Target="../media/image9.emf"/><Relationship Id="rId12" Type="http://schemas.openxmlformats.org/officeDocument/2006/relationships/image" Target="../media/image2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hyperlink" Target="http://www.capgemini.com/" TargetMode="External"/><Relationship Id="rId5" Type="http://schemas.openxmlformats.org/officeDocument/2006/relationships/slideMaster" Target="../slideMasters/slideMaster2.xml"/><Relationship Id="rId10" Type="http://schemas.openxmlformats.org/officeDocument/2006/relationships/hyperlink" Target="http://www.capgemini.com/about/how-we-work/rightshorer" TargetMode="External"/><Relationship Id="rId4" Type="http://schemas.openxmlformats.org/officeDocument/2006/relationships/tags" Target="../tags/tag33.xml"/><Relationship Id="rId9" Type="http://schemas.openxmlformats.org/officeDocument/2006/relationships/hyperlink" Target="http://www.capgemini.com/about/how-we-work/the-collaborative-business-experiencetm" TargetMode="Externa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about/how-we-work/the-collaborative-business-experiencetm" TargetMode="External"/><Relationship Id="rId3" Type="http://schemas.openxmlformats.org/officeDocument/2006/relationships/tags" Target="../tags/tag35.xml"/><Relationship Id="rId7" Type="http://schemas.openxmlformats.org/officeDocument/2006/relationships/image" Target="../media/image9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24.png"/><Relationship Id="rId5" Type="http://schemas.openxmlformats.org/officeDocument/2006/relationships/slideMaster" Target="../slideMasters/slideMaster2.xml"/><Relationship Id="rId10" Type="http://schemas.openxmlformats.org/officeDocument/2006/relationships/hyperlink" Target="http://www.capgemini.com/" TargetMode="External"/><Relationship Id="rId4" Type="http://schemas.openxmlformats.org/officeDocument/2006/relationships/tags" Target="../tags/tag36.xml"/><Relationship Id="rId9" Type="http://schemas.openxmlformats.org/officeDocument/2006/relationships/hyperlink" Target="http://www.capgemini.com/about/how-we-work/rightshorer" TargetMode="Externa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oleObject" Target="../embeddings/oleObject3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3.png"/><Relationship Id="rId2" Type="http://schemas.openxmlformats.org/officeDocument/2006/relationships/tags" Target="../tags/tag5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2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wmf"/><Relationship Id="rId2" Type="http://schemas.openxmlformats.org/officeDocument/2006/relationships/tags" Target="../tags/tag6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7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1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3.png"/><Relationship Id="rId2" Type="http://schemas.openxmlformats.org/officeDocument/2006/relationships/tags" Target="../tags/tag7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oleObject" Target="../embeddings/oleObject55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3.png"/><Relationship Id="rId2" Type="http://schemas.openxmlformats.org/officeDocument/2006/relationships/tags" Target="../tags/tag7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3.png"/><Relationship Id="rId2" Type="http://schemas.openxmlformats.org/officeDocument/2006/relationships/tags" Target="../tags/tag7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1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2.jpeg"/><Relationship Id="rId2" Type="http://schemas.openxmlformats.org/officeDocument/2006/relationships/tags" Target="../tags/tag8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4.wmf"/><Relationship Id="rId2" Type="http://schemas.openxmlformats.org/officeDocument/2006/relationships/tags" Target="../tags/tag8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oleObject" Target="../embeddings/oleObject70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1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3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4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5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6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8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2.jpeg"/><Relationship Id="rId2" Type="http://schemas.openxmlformats.org/officeDocument/2006/relationships/tags" Target="../tags/tag9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4.wmf"/><Relationship Id="rId2" Type="http://schemas.openxmlformats.org/officeDocument/2006/relationships/tags" Target="../tags/tag10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6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36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C swoosh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56695"/>
            <a:ext cx="9906000" cy="516864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9453563" y="5842000"/>
            <a:ext cx="236537" cy="207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815263" y="5972175"/>
            <a:ext cx="2090737" cy="2333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36000" bIns="396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20" dirty="0">
                <a:solidFill>
                  <a:srgbClr val="FFFFFF"/>
                </a:solidFill>
                <a:cs typeface="Arial" charset="0"/>
              </a:rPr>
              <a:t>Transform to the power of digit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6593" y="1553432"/>
            <a:ext cx="7150789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6593" y="2131443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20" y="6355531"/>
            <a:ext cx="4162425" cy="529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85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9000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716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818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9000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920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Maroon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933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1384300"/>
            <a:ext cx="4953000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953000" y="2252663"/>
            <a:ext cx="2712516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7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19250" y="6353175"/>
            <a:ext cx="2279650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023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125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938381" y="1881963"/>
            <a:ext cx="2712516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Calibri"/>
                <a:ea typeface="+mn-ea"/>
                <a:cs typeface="Arial" pitchFamily="34" charset="0"/>
                <a:sym typeface="Calibri"/>
              </a:defRPr>
            </a:lvl1pPr>
          </a:lstStyle>
          <a:p>
            <a:pPr lvl="0"/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228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C swoosh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56695"/>
            <a:ext cx="9906000" cy="516864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9453563" y="5842000"/>
            <a:ext cx="236537" cy="207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815263" y="5972175"/>
            <a:ext cx="2090737" cy="2333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36000" bIns="396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20" dirty="0">
                <a:solidFill>
                  <a:srgbClr val="FFFFFF"/>
                </a:solidFill>
                <a:cs typeface="Arial" charset="0"/>
              </a:rPr>
              <a:t>Transform to the power of digit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6593" y="1553432"/>
            <a:ext cx="7150789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6593" y="2131443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20" y="6355531"/>
            <a:ext cx="4114800" cy="523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330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653170"/>
            <a:ext cx="3189288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5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C swoosh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56695"/>
            <a:ext cx="9906000" cy="516864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9453563" y="5842000"/>
            <a:ext cx="236537" cy="207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815263" y="5972175"/>
            <a:ext cx="2090737" cy="2333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36000" bIns="396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20" dirty="0">
                <a:solidFill>
                  <a:srgbClr val="FFFFFF"/>
                </a:solidFill>
                <a:cs typeface="Arial" charset="0"/>
              </a:rPr>
              <a:t>Transform to the power of digit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6593" y="1553432"/>
            <a:ext cx="7150789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6593" y="2131443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20" y="6355531"/>
            <a:ext cx="4114800" cy="523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7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816225"/>
            <a:ext cx="9906000" cy="404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0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9375" y="2092325"/>
            <a:ext cx="6016625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87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Maroon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933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1384300"/>
            <a:ext cx="4953000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953000" y="2252663"/>
            <a:ext cx="2712516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7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19250" y="6353175"/>
            <a:ext cx="2279650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1" y="435429"/>
            <a:ext cx="9898743" cy="64153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42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pic>
        <p:nvPicPr>
          <p:cNvPr id="15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44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4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49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36" y="1792974"/>
            <a:ext cx="9210677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52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7" y="1382234"/>
            <a:ext cx="9005813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54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56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9000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9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Maroon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933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1384300"/>
            <a:ext cx="4953000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953000" y="2252663"/>
            <a:ext cx="2712516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7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19250" y="6353175"/>
            <a:ext cx="2279650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61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64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938381" y="1881963"/>
            <a:ext cx="2712516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Calibri"/>
                <a:ea typeface="+mn-ea"/>
                <a:cs typeface="Arial" pitchFamily="34" charset="0"/>
                <a:sym typeface="Calibri"/>
              </a:defRPr>
            </a:lvl1pPr>
          </a:lstStyle>
          <a:p>
            <a:pPr lvl="0"/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90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938381" y="1881963"/>
            <a:ext cx="2712516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Calibri"/>
                <a:ea typeface="+mn-ea"/>
                <a:cs typeface="Arial" pitchFamily="34" charset="0"/>
                <a:sym typeface="Calibri"/>
              </a:defRPr>
            </a:lvl1pPr>
          </a:lstStyle>
          <a:p>
            <a:pPr lvl="0"/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66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653170"/>
            <a:ext cx="3189288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9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1" name="Object 10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C swoosh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56697"/>
            <a:ext cx="9906000" cy="516864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9453563" y="5842002"/>
            <a:ext cx="236537" cy="207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815264" y="5972177"/>
            <a:ext cx="2090737" cy="2333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29250" bIns="32175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48" dirty="0">
                <a:solidFill>
                  <a:srgbClr val="FFFFFF"/>
                </a:solidFill>
                <a:cs typeface="Arial" charset="0"/>
              </a:rPr>
              <a:t>Transform to the power of digit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6594" y="1553432"/>
            <a:ext cx="7150789" cy="360040"/>
          </a:xfrm>
        </p:spPr>
        <p:txBody>
          <a:bodyPr>
            <a:noAutofit/>
          </a:bodyPr>
          <a:lstStyle>
            <a:lvl1pPr algn="l">
              <a:defRPr sz="26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6594" y="2131443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463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20" y="6355531"/>
            <a:ext cx="4114800" cy="523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728460999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22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780912"/>
            <a:ext cx="9906000" cy="404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4" y="2233944"/>
            <a:ext cx="7150789" cy="360040"/>
          </a:xfrm>
        </p:spPr>
        <p:txBody>
          <a:bodyPr>
            <a:noAutofit/>
          </a:bodyPr>
          <a:lstStyle>
            <a:lvl1pPr algn="l">
              <a:defRPr sz="2275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4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3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5756995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4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9376" y="2092327"/>
            <a:ext cx="6016625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4" y="2233944"/>
            <a:ext cx="7150789" cy="360040"/>
          </a:xfrm>
        </p:spPr>
        <p:txBody>
          <a:bodyPr>
            <a:noAutofit/>
          </a:bodyPr>
          <a:lstStyle>
            <a:lvl1pPr algn="l">
              <a:defRPr sz="2275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4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3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823476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26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488"/>
              </a:spcAft>
              <a:buFont typeface="Arial Unicode MS" pitchFamily="34" charset="-128"/>
              <a:buChar char="▶"/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488"/>
              </a:spcAft>
              <a:buClr>
                <a:schemeClr val="accent2"/>
              </a:buClr>
              <a:defRPr sz="1138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488"/>
              </a:spcAft>
              <a:defRPr sz="975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488"/>
              </a:spcAft>
              <a:defRPr sz="853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488"/>
              </a:spcAft>
              <a:defRPr sz="853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1" y="6455475"/>
            <a:ext cx="3207970" cy="201600"/>
          </a:xfrm>
        </p:spPr>
        <p:txBody>
          <a:bodyPr/>
          <a:lstStyle>
            <a:lvl1pPr>
              <a:defRPr sz="894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894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Freeform 4"/>
          <p:cNvSpPr>
            <a:spLocks/>
          </p:cNvSpPr>
          <p:nvPr userDrawn="1"/>
        </p:nvSpPr>
        <p:spPr bwMode="auto">
          <a:xfrm>
            <a:off x="0" y="140863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8177" fontAlgn="auto">
              <a:spcBef>
                <a:spcPts val="0"/>
              </a:spcBef>
              <a:spcAft>
                <a:spcPts val="0"/>
              </a:spcAft>
            </a:pPr>
            <a:endParaRPr lang="fr-FR" sz="195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8177" fontAlgn="auto">
              <a:spcBef>
                <a:spcPts val="0"/>
              </a:spcBef>
              <a:spcAft>
                <a:spcPts val="0"/>
              </a:spcAft>
            </a:pPr>
            <a:endParaRPr lang="fr-FR" sz="195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9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3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1788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5712081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29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9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3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840966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3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 bwMode="auto">
          <a:xfrm>
            <a:off x="0" y="435431"/>
            <a:ext cx="9898743" cy="64153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244"/>
              </a:spcAft>
            </a:pPr>
            <a:endParaRPr lang="en-GB" sz="1138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3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8177" fontAlgn="auto">
              <a:spcBef>
                <a:spcPts val="0"/>
              </a:spcBef>
              <a:spcAft>
                <a:spcPts val="0"/>
              </a:spcAft>
            </a:pPr>
            <a:endParaRPr lang="fr-FR" sz="195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8177" fontAlgn="auto">
              <a:spcBef>
                <a:spcPts val="0"/>
              </a:spcBef>
              <a:spcAft>
                <a:spcPts val="0"/>
              </a:spcAft>
            </a:pPr>
            <a:endParaRPr lang="fr-FR" sz="195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1788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1" y="6455475"/>
            <a:ext cx="3207970" cy="201600"/>
          </a:xfrm>
        </p:spPr>
        <p:txBody>
          <a:bodyPr/>
          <a:lstStyle>
            <a:lvl1pPr>
              <a:defRPr sz="894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7 Capgemini. All rights reserved.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894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15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5"/>
            <a:ext cx="2134780" cy="224943"/>
          </a:xfrm>
          <a:prstGeom prst="rect">
            <a:avLst/>
          </a:prstGeom>
          <a:noFill/>
        </p:spPr>
      </p:pic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9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3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4861654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4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9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3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37" y="1792974"/>
            <a:ext cx="9210677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5571579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36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8" y="1382234"/>
            <a:ext cx="9005813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058735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38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697246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40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653170"/>
            <a:ext cx="3189288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41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9001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446767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43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Maroon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3933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1384302"/>
            <a:ext cx="4953000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953000" y="2252663"/>
            <a:ext cx="2712516" cy="2998012"/>
          </a:xfrm>
        </p:spPr>
        <p:txBody>
          <a:bodyPr/>
          <a:lstStyle>
            <a:lvl1pPr marL="148332" marR="0" indent="-148332" algn="l" defTabSz="7429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88"/>
              </a:spcAft>
              <a:buClr>
                <a:schemeClr val="accent2"/>
              </a:buClr>
              <a:buSzPct val="100000"/>
              <a:buFontTx/>
              <a:buBlip>
                <a:blip r:embed="rId7"/>
              </a:buBlip>
              <a:tabLst/>
              <a:defRPr lang="en-US" sz="1138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19250" y="6353177"/>
            <a:ext cx="2279650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4" dirty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786068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46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345845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48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938382" y="1881963"/>
            <a:ext cx="2712516" cy="2998012"/>
          </a:xfrm>
        </p:spPr>
        <p:txBody>
          <a:bodyPr/>
          <a:lstStyle>
            <a:lvl1pPr marL="232172" marR="0" indent="-175500" algn="l" defTabSz="74295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244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 lang="en-US" sz="1138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Calibri"/>
                <a:ea typeface="+mn-ea"/>
                <a:cs typeface="Arial" pitchFamily="34" charset="0"/>
                <a:sym typeface="Calibri"/>
              </a:defRPr>
            </a:lvl1pPr>
          </a:lstStyle>
          <a:p>
            <a:pPr lvl="0"/>
            <a:r>
              <a:rPr lang="en-US" dirty="0"/>
              <a:t>Click to add content</a:t>
            </a:r>
          </a:p>
          <a:p>
            <a:pPr marL="232172" marR="0" lvl="0" indent="-175500" algn="l" defTabSz="74295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244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32172" marR="0" lvl="0" indent="-175500" algn="l" defTabSz="74295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244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32172" marR="0" lvl="0" indent="-175500" algn="l" defTabSz="74295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244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32172" marR="0" lvl="0" indent="-175500" algn="l" defTabSz="74295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244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517395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5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67"/>
          <p:cNvSpPr>
            <a:spLocks/>
          </p:cNvSpPr>
          <p:nvPr userDrawn="1"/>
        </p:nvSpPr>
        <p:spPr bwMode="auto">
          <a:xfrm>
            <a:off x="-5795" y="0"/>
            <a:ext cx="9928800" cy="6093466"/>
          </a:xfrm>
          <a:custGeom>
            <a:avLst/>
            <a:gdLst>
              <a:gd name="connsiteX0" fmla="*/ 10000 w 10000"/>
              <a:gd name="connsiteY0" fmla="*/ 6563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10000 w 10000"/>
              <a:gd name="connsiteY16" fmla="*/ 6563 h 16563"/>
              <a:gd name="connsiteX0" fmla="*/ 9930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30 w 10000"/>
              <a:gd name="connsiteY16" fmla="*/ 0 h 16563"/>
              <a:gd name="connsiteX0" fmla="*/ 9993 w 10016"/>
              <a:gd name="connsiteY0" fmla="*/ 0 h 16563"/>
              <a:gd name="connsiteX1" fmla="*/ 7 w 10016"/>
              <a:gd name="connsiteY1" fmla="*/ 0 h 16563"/>
              <a:gd name="connsiteX2" fmla="*/ 0 w 10016"/>
              <a:gd name="connsiteY2" fmla="*/ 14916 h 16563"/>
              <a:gd name="connsiteX3" fmla="*/ 0 w 10016"/>
              <a:gd name="connsiteY3" fmla="*/ 14916 h 16563"/>
              <a:gd name="connsiteX4" fmla="*/ 0 w 10016"/>
              <a:gd name="connsiteY4" fmla="*/ 15092 h 16563"/>
              <a:gd name="connsiteX5" fmla="*/ 388 w 10016"/>
              <a:gd name="connsiteY5" fmla="*/ 15092 h 16563"/>
              <a:gd name="connsiteX6" fmla="*/ 626 w 10016"/>
              <a:gd name="connsiteY6" fmla="*/ 16563 h 16563"/>
              <a:gd name="connsiteX7" fmla="*/ 865 w 10016"/>
              <a:gd name="connsiteY7" fmla="*/ 15092 h 16563"/>
              <a:gd name="connsiteX8" fmla="*/ 1057 w 10016"/>
              <a:gd name="connsiteY8" fmla="*/ 15092 h 16563"/>
              <a:gd name="connsiteX9" fmla="*/ 2653 w 10016"/>
              <a:gd name="connsiteY9" fmla="*/ 15092 h 16563"/>
              <a:gd name="connsiteX10" fmla="*/ 5124 w 10016"/>
              <a:gd name="connsiteY10" fmla="*/ 15092 h 16563"/>
              <a:gd name="connsiteX11" fmla="*/ 7681 w 10016"/>
              <a:gd name="connsiteY11" fmla="*/ 15092 h 16563"/>
              <a:gd name="connsiteX12" fmla="*/ 9536 w 10016"/>
              <a:gd name="connsiteY12" fmla="*/ 15092 h 16563"/>
              <a:gd name="connsiteX13" fmla="*/ 9997 w 10016"/>
              <a:gd name="connsiteY13" fmla="*/ 15092 h 16563"/>
              <a:gd name="connsiteX14" fmla="*/ 10000 w 10016"/>
              <a:gd name="connsiteY14" fmla="*/ 14916 h 16563"/>
              <a:gd name="connsiteX15" fmla="*/ 10000 w 10016"/>
              <a:gd name="connsiteY15" fmla="*/ 14916 h 16563"/>
              <a:gd name="connsiteX16" fmla="*/ 9993 w 10016"/>
              <a:gd name="connsiteY16" fmla="*/ 0 h 16563"/>
              <a:gd name="connsiteX0" fmla="*/ 9993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93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8962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10000 w 10000"/>
              <a:gd name="connsiteY14" fmla="*/ 14916 h 16563"/>
              <a:gd name="connsiteX15" fmla="*/ 8962 w 10000"/>
              <a:gd name="connsiteY15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8962 w 10000"/>
              <a:gd name="connsiteY14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9739 w 10000"/>
              <a:gd name="connsiteY13" fmla="*/ 14471 h 16563"/>
              <a:gd name="connsiteX14" fmla="*/ 8962 w 10000"/>
              <a:gd name="connsiteY14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8968"/>
              <a:gd name="connsiteY0" fmla="*/ 0 h 16563"/>
              <a:gd name="connsiteX1" fmla="*/ 7 w 8968"/>
              <a:gd name="connsiteY1" fmla="*/ 0 h 16563"/>
              <a:gd name="connsiteX2" fmla="*/ 0 w 8968"/>
              <a:gd name="connsiteY2" fmla="*/ 14916 h 16563"/>
              <a:gd name="connsiteX3" fmla="*/ 0 w 8968"/>
              <a:gd name="connsiteY3" fmla="*/ 14916 h 16563"/>
              <a:gd name="connsiteX4" fmla="*/ 0 w 8968"/>
              <a:gd name="connsiteY4" fmla="*/ 15092 h 16563"/>
              <a:gd name="connsiteX5" fmla="*/ 388 w 8968"/>
              <a:gd name="connsiteY5" fmla="*/ 15092 h 16563"/>
              <a:gd name="connsiteX6" fmla="*/ 626 w 8968"/>
              <a:gd name="connsiteY6" fmla="*/ 16563 h 16563"/>
              <a:gd name="connsiteX7" fmla="*/ 865 w 8968"/>
              <a:gd name="connsiteY7" fmla="*/ 15092 h 16563"/>
              <a:gd name="connsiteX8" fmla="*/ 1057 w 8968"/>
              <a:gd name="connsiteY8" fmla="*/ 15092 h 16563"/>
              <a:gd name="connsiteX9" fmla="*/ 2653 w 8968"/>
              <a:gd name="connsiteY9" fmla="*/ 15092 h 16563"/>
              <a:gd name="connsiteX10" fmla="*/ 5124 w 8968"/>
              <a:gd name="connsiteY10" fmla="*/ 15092 h 16563"/>
              <a:gd name="connsiteX11" fmla="*/ 7681 w 8968"/>
              <a:gd name="connsiteY11" fmla="*/ 15092 h 16563"/>
              <a:gd name="connsiteX12" fmla="*/ 8962 w 8968"/>
              <a:gd name="connsiteY12" fmla="*/ 15036 h 16563"/>
              <a:gd name="connsiteX13" fmla="*/ 8962 w 8968"/>
              <a:gd name="connsiteY13" fmla="*/ 0 h 16563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9998"/>
              <a:gd name="connsiteY0" fmla="*/ 0 h 10000"/>
              <a:gd name="connsiteX1" fmla="*/ 8 w 9998"/>
              <a:gd name="connsiteY1" fmla="*/ 0 h 10000"/>
              <a:gd name="connsiteX2" fmla="*/ 0 w 9998"/>
              <a:gd name="connsiteY2" fmla="*/ 9006 h 10000"/>
              <a:gd name="connsiteX3" fmla="*/ 0 w 9998"/>
              <a:gd name="connsiteY3" fmla="*/ 9006 h 10000"/>
              <a:gd name="connsiteX4" fmla="*/ 0 w 9998"/>
              <a:gd name="connsiteY4" fmla="*/ 9112 h 10000"/>
              <a:gd name="connsiteX5" fmla="*/ 433 w 9998"/>
              <a:gd name="connsiteY5" fmla="*/ 9112 h 10000"/>
              <a:gd name="connsiteX6" fmla="*/ 698 w 9998"/>
              <a:gd name="connsiteY6" fmla="*/ 10000 h 10000"/>
              <a:gd name="connsiteX7" fmla="*/ 965 w 9998"/>
              <a:gd name="connsiteY7" fmla="*/ 9112 h 10000"/>
              <a:gd name="connsiteX8" fmla="*/ 1179 w 9998"/>
              <a:gd name="connsiteY8" fmla="*/ 9112 h 10000"/>
              <a:gd name="connsiteX9" fmla="*/ 2958 w 9998"/>
              <a:gd name="connsiteY9" fmla="*/ 9112 h 10000"/>
              <a:gd name="connsiteX10" fmla="*/ 5714 w 9998"/>
              <a:gd name="connsiteY10" fmla="*/ 9112 h 10000"/>
              <a:gd name="connsiteX11" fmla="*/ 8565 w 9998"/>
              <a:gd name="connsiteY11" fmla="*/ 9112 h 10000"/>
              <a:gd name="connsiteX12" fmla="*/ 9993 w 9998"/>
              <a:gd name="connsiteY12" fmla="*/ 9078 h 10000"/>
              <a:gd name="connsiteX13" fmla="*/ 9993 w 9998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67 w 10000"/>
              <a:gd name="connsiteY11" fmla="*/ 9112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21 w 10000"/>
              <a:gd name="connsiteY11" fmla="*/ 9078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9995 w 10000"/>
              <a:gd name="connsiteY11" fmla="*/ 9078 h 10000"/>
              <a:gd name="connsiteX12" fmla="*/ 9995 w 10000"/>
              <a:gd name="connsiteY12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9995 w 10000"/>
              <a:gd name="connsiteY10" fmla="*/ 9078 h 10000"/>
              <a:gd name="connsiteX11" fmla="*/ 9995 w 10000"/>
              <a:gd name="connsiteY11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7 w 10000"/>
              <a:gd name="connsiteY3" fmla="*/ 7032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10067 w 10072"/>
              <a:gd name="connsiteY0" fmla="*/ 0 h 10525"/>
              <a:gd name="connsiteX1" fmla="*/ 80 w 10072"/>
              <a:gd name="connsiteY1" fmla="*/ 0 h 10525"/>
              <a:gd name="connsiteX2" fmla="*/ 72 w 10072"/>
              <a:gd name="connsiteY2" fmla="*/ 9006 h 10525"/>
              <a:gd name="connsiteX3" fmla="*/ 72 w 10072"/>
              <a:gd name="connsiteY3" fmla="*/ 9112 h 10525"/>
              <a:gd name="connsiteX4" fmla="*/ 505 w 10072"/>
              <a:gd name="connsiteY4" fmla="*/ 9112 h 10525"/>
              <a:gd name="connsiteX5" fmla="*/ 770 w 10072"/>
              <a:gd name="connsiteY5" fmla="*/ 10000 h 10525"/>
              <a:gd name="connsiteX6" fmla="*/ 1037 w 10072"/>
              <a:gd name="connsiteY6" fmla="*/ 9112 h 10525"/>
              <a:gd name="connsiteX7" fmla="*/ 1251 w 10072"/>
              <a:gd name="connsiteY7" fmla="*/ 9112 h 10525"/>
              <a:gd name="connsiteX8" fmla="*/ 10067 w 10072"/>
              <a:gd name="connsiteY8" fmla="*/ 9078 h 10525"/>
              <a:gd name="connsiteX9" fmla="*/ 10067 w 10072"/>
              <a:gd name="connsiteY9" fmla="*/ 0 h 10525"/>
              <a:gd name="connsiteX0" fmla="*/ 10067 w 10072"/>
              <a:gd name="connsiteY0" fmla="*/ 0 h 10000"/>
              <a:gd name="connsiteX1" fmla="*/ 80 w 10072"/>
              <a:gd name="connsiteY1" fmla="*/ 0 h 10000"/>
              <a:gd name="connsiteX2" fmla="*/ 79 w 10072"/>
              <a:gd name="connsiteY2" fmla="*/ 7714 h 10000"/>
              <a:gd name="connsiteX3" fmla="*/ 72 w 10072"/>
              <a:gd name="connsiteY3" fmla="*/ 9112 h 10000"/>
              <a:gd name="connsiteX4" fmla="*/ 505 w 10072"/>
              <a:gd name="connsiteY4" fmla="*/ 9112 h 10000"/>
              <a:gd name="connsiteX5" fmla="*/ 770 w 10072"/>
              <a:gd name="connsiteY5" fmla="*/ 10000 h 10000"/>
              <a:gd name="connsiteX6" fmla="*/ 1037 w 10072"/>
              <a:gd name="connsiteY6" fmla="*/ 9112 h 10000"/>
              <a:gd name="connsiteX7" fmla="*/ 1251 w 10072"/>
              <a:gd name="connsiteY7" fmla="*/ 9112 h 10000"/>
              <a:gd name="connsiteX8" fmla="*/ 10067 w 10072"/>
              <a:gd name="connsiteY8" fmla="*/ 9078 h 10000"/>
              <a:gd name="connsiteX9" fmla="*/ 10067 w 10072"/>
              <a:gd name="connsiteY9" fmla="*/ 0 h 10000"/>
              <a:gd name="connsiteX0" fmla="*/ 11653 w 11658"/>
              <a:gd name="connsiteY0" fmla="*/ 0 h 10000"/>
              <a:gd name="connsiteX1" fmla="*/ 1666 w 11658"/>
              <a:gd name="connsiteY1" fmla="*/ 0 h 10000"/>
              <a:gd name="connsiteX2" fmla="*/ 1658 w 11658"/>
              <a:gd name="connsiteY2" fmla="*/ 9112 h 10000"/>
              <a:gd name="connsiteX3" fmla="*/ 2091 w 11658"/>
              <a:gd name="connsiteY3" fmla="*/ 9112 h 10000"/>
              <a:gd name="connsiteX4" fmla="*/ 2356 w 11658"/>
              <a:gd name="connsiteY4" fmla="*/ 10000 h 10000"/>
              <a:gd name="connsiteX5" fmla="*/ 2623 w 11658"/>
              <a:gd name="connsiteY5" fmla="*/ 9112 h 10000"/>
              <a:gd name="connsiteX6" fmla="*/ 2837 w 11658"/>
              <a:gd name="connsiteY6" fmla="*/ 9112 h 10000"/>
              <a:gd name="connsiteX7" fmla="*/ 11653 w 11658"/>
              <a:gd name="connsiteY7" fmla="*/ 9078 h 10000"/>
              <a:gd name="connsiteX8" fmla="*/ 11653 w 11658"/>
              <a:gd name="connsiteY8" fmla="*/ 0 h 10000"/>
              <a:gd name="connsiteX0" fmla="*/ 10066 w 10071"/>
              <a:gd name="connsiteY0" fmla="*/ 0 h 10000"/>
              <a:gd name="connsiteX1" fmla="*/ 79 w 10071"/>
              <a:gd name="connsiteY1" fmla="*/ 0 h 10000"/>
              <a:gd name="connsiteX2" fmla="*/ 71 w 10071"/>
              <a:gd name="connsiteY2" fmla="*/ 9112 h 10000"/>
              <a:gd name="connsiteX3" fmla="*/ 504 w 10071"/>
              <a:gd name="connsiteY3" fmla="*/ 9112 h 10000"/>
              <a:gd name="connsiteX4" fmla="*/ 769 w 10071"/>
              <a:gd name="connsiteY4" fmla="*/ 10000 h 10000"/>
              <a:gd name="connsiteX5" fmla="*/ 1036 w 10071"/>
              <a:gd name="connsiteY5" fmla="*/ 9112 h 10000"/>
              <a:gd name="connsiteX6" fmla="*/ 1250 w 10071"/>
              <a:gd name="connsiteY6" fmla="*/ 9112 h 10000"/>
              <a:gd name="connsiteX7" fmla="*/ 10066 w 10071"/>
              <a:gd name="connsiteY7" fmla="*/ 9078 h 10000"/>
              <a:gd name="connsiteX8" fmla="*/ 10066 w 10071"/>
              <a:gd name="connsiteY8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112 h 10000"/>
              <a:gd name="connsiteX3" fmla="*/ 433 w 10000"/>
              <a:gd name="connsiteY3" fmla="*/ 9112 h 10000"/>
              <a:gd name="connsiteX4" fmla="*/ 698 w 10000"/>
              <a:gd name="connsiteY4" fmla="*/ 10000 h 10000"/>
              <a:gd name="connsiteX5" fmla="*/ 965 w 10000"/>
              <a:gd name="connsiteY5" fmla="*/ 9112 h 10000"/>
              <a:gd name="connsiteX6" fmla="*/ 1179 w 10000"/>
              <a:gd name="connsiteY6" fmla="*/ 9112 h 10000"/>
              <a:gd name="connsiteX7" fmla="*/ 9995 w 10000"/>
              <a:gd name="connsiteY7" fmla="*/ 9078 h 10000"/>
              <a:gd name="connsiteX8" fmla="*/ 9995 w 10000"/>
              <a:gd name="connsiteY8" fmla="*/ 0 h 10000"/>
              <a:gd name="connsiteX0" fmla="*/ 9993 w 9998"/>
              <a:gd name="connsiteY0" fmla="*/ 0 h 10000"/>
              <a:gd name="connsiteX1" fmla="*/ 6 w 9998"/>
              <a:gd name="connsiteY1" fmla="*/ 0 h 10000"/>
              <a:gd name="connsiteX2" fmla="*/ 234 w 9998"/>
              <a:gd name="connsiteY2" fmla="*/ 9078 h 10000"/>
              <a:gd name="connsiteX3" fmla="*/ 431 w 9998"/>
              <a:gd name="connsiteY3" fmla="*/ 9112 h 10000"/>
              <a:gd name="connsiteX4" fmla="*/ 696 w 9998"/>
              <a:gd name="connsiteY4" fmla="*/ 10000 h 10000"/>
              <a:gd name="connsiteX5" fmla="*/ 963 w 9998"/>
              <a:gd name="connsiteY5" fmla="*/ 9112 h 10000"/>
              <a:gd name="connsiteX6" fmla="*/ 1177 w 9998"/>
              <a:gd name="connsiteY6" fmla="*/ 9112 h 10000"/>
              <a:gd name="connsiteX7" fmla="*/ 9993 w 9998"/>
              <a:gd name="connsiteY7" fmla="*/ 9078 h 10000"/>
              <a:gd name="connsiteX8" fmla="*/ 9993 w 9998"/>
              <a:gd name="connsiteY8" fmla="*/ 0 h 10000"/>
              <a:gd name="connsiteX0" fmla="*/ 9767 w 9772"/>
              <a:gd name="connsiteY0" fmla="*/ 0 h 10000"/>
              <a:gd name="connsiteX1" fmla="*/ 6 w 9772"/>
              <a:gd name="connsiteY1" fmla="*/ 0 h 10000"/>
              <a:gd name="connsiteX2" fmla="*/ 6 w 9772"/>
              <a:gd name="connsiteY2" fmla="*/ 9078 h 10000"/>
              <a:gd name="connsiteX3" fmla="*/ 203 w 9772"/>
              <a:gd name="connsiteY3" fmla="*/ 9112 h 10000"/>
              <a:gd name="connsiteX4" fmla="*/ 468 w 9772"/>
              <a:gd name="connsiteY4" fmla="*/ 10000 h 10000"/>
              <a:gd name="connsiteX5" fmla="*/ 735 w 9772"/>
              <a:gd name="connsiteY5" fmla="*/ 9112 h 10000"/>
              <a:gd name="connsiteX6" fmla="*/ 949 w 9772"/>
              <a:gd name="connsiteY6" fmla="*/ 9112 h 10000"/>
              <a:gd name="connsiteX7" fmla="*/ 9767 w 9772"/>
              <a:gd name="connsiteY7" fmla="*/ 9078 h 10000"/>
              <a:gd name="connsiteX8" fmla="*/ 9767 w 9772"/>
              <a:gd name="connsiteY8" fmla="*/ 0 h 10000"/>
              <a:gd name="connsiteX0" fmla="*/ 9990 w 9995"/>
              <a:gd name="connsiteY0" fmla="*/ 18860 h 28860"/>
              <a:gd name="connsiteX1" fmla="*/ 6 w 9995"/>
              <a:gd name="connsiteY1" fmla="*/ 0 h 28860"/>
              <a:gd name="connsiteX2" fmla="*/ 1 w 9995"/>
              <a:gd name="connsiteY2" fmla="*/ 27938 h 28860"/>
              <a:gd name="connsiteX3" fmla="*/ 203 w 9995"/>
              <a:gd name="connsiteY3" fmla="*/ 27972 h 28860"/>
              <a:gd name="connsiteX4" fmla="*/ 474 w 9995"/>
              <a:gd name="connsiteY4" fmla="*/ 28860 h 28860"/>
              <a:gd name="connsiteX5" fmla="*/ 747 w 9995"/>
              <a:gd name="connsiteY5" fmla="*/ 27972 h 28860"/>
              <a:gd name="connsiteX6" fmla="*/ 966 w 9995"/>
              <a:gd name="connsiteY6" fmla="*/ 27972 h 28860"/>
              <a:gd name="connsiteX7" fmla="*/ 9990 w 9995"/>
              <a:gd name="connsiteY7" fmla="*/ 27938 h 28860"/>
              <a:gd name="connsiteX8" fmla="*/ 9990 w 9995"/>
              <a:gd name="connsiteY8" fmla="*/ 18860 h 28860"/>
              <a:gd name="connsiteX0" fmla="*/ 10000 w 10005"/>
              <a:gd name="connsiteY0" fmla="*/ 0 h 10000"/>
              <a:gd name="connsiteX1" fmla="*/ 6 w 10005"/>
              <a:gd name="connsiteY1" fmla="*/ 0 h 10000"/>
              <a:gd name="connsiteX2" fmla="*/ 1 w 10005"/>
              <a:gd name="connsiteY2" fmla="*/ 9681 h 10000"/>
              <a:gd name="connsiteX3" fmla="*/ 203 w 10005"/>
              <a:gd name="connsiteY3" fmla="*/ 9692 h 10000"/>
              <a:gd name="connsiteX4" fmla="*/ 474 w 10005"/>
              <a:gd name="connsiteY4" fmla="*/ 10000 h 10000"/>
              <a:gd name="connsiteX5" fmla="*/ 747 w 10005"/>
              <a:gd name="connsiteY5" fmla="*/ 9692 h 10000"/>
              <a:gd name="connsiteX6" fmla="*/ 966 w 10005"/>
              <a:gd name="connsiteY6" fmla="*/ 9692 h 10000"/>
              <a:gd name="connsiteX7" fmla="*/ 9995 w 10005"/>
              <a:gd name="connsiteY7" fmla="*/ 9681 h 10000"/>
              <a:gd name="connsiteX8" fmla="*/ 10000 w 10005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5" h="10000">
                <a:moveTo>
                  <a:pt x="10000" y="0"/>
                </a:moveTo>
                <a:lnTo>
                  <a:pt x="6" y="0"/>
                </a:lnTo>
                <a:cubicBezTo>
                  <a:pt x="0" y="533"/>
                  <a:pt x="4" y="9107"/>
                  <a:pt x="1" y="9681"/>
                </a:cubicBezTo>
                <a:lnTo>
                  <a:pt x="203" y="9692"/>
                </a:lnTo>
                <a:cubicBezTo>
                  <a:pt x="414" y="9692"/>
                  <a:pt x="471" y="9963"/>
                  <a:pt x="474" y="10000"/>
                </a:cubicBezTo>
                <a:cubicBezTo>
                  <a:pt x="482" y="9957"/>
                  <a:pt x="534" y="9692"/>
                  <a:pt x="747" y="9692"/>
                </a:cubicBezTo>
                <a:lnTo>
                  <a:pt x="966" y="9692"/>
                </a:lnTo>
                <a:lnTo>
                  <a:pt x="9995" y="9681"/>
                </a:lnTo>
                <a:cubicBezTo>
                  <a:pt x="9992" y="9351"/>
                  <a:pt x="10005" y="153"/>
                  <a:pt x="10000" y="0"/>
                </a:cubicBez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de-DE" sz="1463" kern="120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" name="Group 204"/>
          <p:cNvGrpSpPr/>
          <p:nvPr userDrawn="1"/>
        </p:nvGrpSpPr>
        <p:grpSpPr>
          <a:xfrm>
            <a:off x="-27637" y="1470027"/>
            <a:ext cx="9933639" cy="4445001"/>
            <a:chOff x="-27638" y="1470025"/>
            <a:chExt cx="9933639" cy="4445001"/>
          </a:xfrm>
        </p:grpSpPr>
        <p:grpSp>
          <p:nvGrpSpPr>
            <p:cNvPr id="4" name="Group 167"/>
            <p:cNvGrpSpPr/>
            <p:nvPr userDrawn="1"/>
          </p:nvGrpSpPr>
          <p:grpSpPr>
            <a:xfrm>
              <a:off x="0" y="1500852"/>
              <a:ext cx="9906001" cy="4400551"/>
              <a:chOff x="0" y="1500852"/>
              <a:chExt cx="9906001" cy="4400551"/>
            </a:xfrm>
          </p:grpSpPr>
          <p:sp>
            <p:nvSpPr>
              <p:cNvPr id="8" name="Freeform 120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" name="Freeform 121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" name="Freeform 122"/>
              <p:cNvSpPr>
                <a:spLocks/>
              </p:cNvSpPr>
              <p:nvPr userDrawn="1"/>
            </p:nvSpPr>
            <p:spPr bwMode="auto">
              <a:xfrm>
                <a:off x="6716713" y="4609177"/>
                <a:ext cx="2489200" cy="757238"/>
              </a:xfrm>
              <a:custGeom>
                <a:avLst/>
                <a:gdLst/>
                <a:ahLst/>
                <a:cxnLst>
                  <a:cxn ang="0">
                    <a:pos x="1240" y="0"/>
                  </a:cxn>
                  <a:cxn ang="0">
                    <a:pos x="846" y="50"/>
                  </a:cxn>
                  <a:cxn ang="0">
                    <a:pos x="827" y="240"/>
                  </a:cxn>
                  <a:cxn ang="0">
                    <a:pos x="0" y="161"/>
                  </a:cxn>
                  <a:cxn ang="0">
                    <a:pos x="1568" y="477"/>
                  </a:cxn>
                  <a:cxn ang="0">
                    <a:pos x="1240" y="0"/>
                  </a:cxn>
                </a:cxnLst>
                <a:rect l="0" t="0" r="r" b="b"/>
                <a:pathLst>
                  <a:path w="1568" h="477">
                    <a:moveTo>
                      <a:pt x="1240" y="0"/>
                    </a:moveTo>
                    <a:lnTo>
                      <a:pt x="846" y="50"/>
                    </a:lnTo>
                    <a:lnTo>
                      <a:pt x="827" y="240"/>
                    </a:lnTo>
                    <a:lnTo>
                      <a:pt x="0" y="161"/>
                    </a:lnTo>
                    <a:lnTo>
                      <a:pt x="1568" y="477"/>
                    </a:lnTo>
                    <a:lnTo>
                      <a:pt x="124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" name="Freeform 124"/>
              <p:cNvSpPr>
                <a:spLocks/>
              </p:cNvSpPr>
              <p:nvPr userDrawn="1"/>
            </p:nvSpPr>
            <p:spPr bwMode="auto">
              <a:xfrm>
                <a:off x="9183688" y="4486940"/>
                <a:ext cx="446088" cy="57150"/>
              </a:xfrm>
              <a:custGeom>
                <a:avLst/>
                <a:gdLst/>
                <a:ahLst/>
                <a:cxnLst>
                  <a:cxn ang="0">
                    <a:pos x="281" y="0"/>
                  </a:cxn>
                  <a:cxn ang="0">
                    <a:pos x="0" y="10"/>
                  </a:cxn>
                  <a:cxn ang="0">
                    <a:pos x="2" y="36"/>
                  </a:cxn>
                  <a:cxn ang="0">
                    <a:pos x="281" y="0"/>
                  </a:cxn>
                </a:cxnLst>
                <a:rect l="0" t="0" r="r" b="b"/>
                <a:pathLst>
                  <a:path w="281" h="36">
                    <a:moveTo>
                      <a:pt x="281" y="0"/>
                    </a:moveTo>
                    <a:lnTo>
                      <a:pt x="0" y="10"/>
                    </a:lnTo>
                    <a:lnTo>
                      <a:pt x="2" y="36"/>
                    </a:lnTo>
                    <a:lnTo>
                      <a:pt x="281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" name="Freeform 126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6" name="Freeform 127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7" name="Freeform 128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9" name="Freeform 129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0" name="Freeform 130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1" name="Freeform 131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2" name="Freeform 132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close/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3" name="Freeform 133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4" name="Freeform 134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5" name="Freeform 135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6" name="Freeform 136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1758950" cy="1770063"/>
              </a:xfrm>
              <a:custGeom>
                <a:avLst/>
                <a:gdLst/>
                <a:ahLst/>
                <a:cxnLst>
                  <a:cxn ang="0">
                    <a:pos x="307" y="729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532" y="444"/>
                  </a:cxn>
                  <a:cxn ang="0">
                    <a:pos x="528" y="448"/>
                  </a:cxn>
                  <a:cxn ang="0">
                    <a:pos x="882" y="1084"/>
                  </a:cxn>
                  <a:cxn ang="0">
                    <a:pos x="884" y="1086"/>
                  </a:cxn>
                  <a:cxn ang="0">
                    <a:pos x="1066" y="935"/>
                  </a:cxn>
                  <a:cxn ang="0">
                    <a:pos x="1108" y="7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</a:cxnLst>
                <a:rect l="0" t="0" r="r" b="b"/>
                <a:pathLst>
                  <a:path w="1108" h="1115">
                    <a:moveTo>
                      <a:pt x="307" y="729"/>
                    </a:moveTo>
                    <a:lnTo>
                      <a:pt x="0" y="1115"/>
                    </a:lnTo>
                    <a:lnTo>
                      <a:pt x="307" y="729"/>
                    </a:lnTo>
                    <a:lnTo>
                      <a:pt x="307" y="729"/>
                    </a:lnTo>
                    <a:lnTo>
                      <a:pt x="307" y="729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532" y="444"/>
                    </a:lnTo>
                    <a:lnTo>
                      <a:pt x="528" y="448"/>
                    </a:lnTo>
                    <a:lnTo>
                      <a:pt x="882" y="1084"/>
                    </a:lnTo>
                    <a:lnTo>
                      <a:pt x="884" y="1086"/>
                    </a:lnTo>
                    <a:lnTo>
                      <a:pt x="1066" y="935"/>
                    </a:lnTo>
                    <a:lnTo>
                      <a:pt x="1108" y="715"/>
                    </a:lnTo>
                    <a:lnTo>
                      <a:pt x="281" y="0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281" y="0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rgbClr val="CFB4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7" name="Freeform 138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8" name="Freeform 139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29" name="Freeform 140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close/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0" name="Freeform 141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1" name="Freeform 142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2" name="Freeform 143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3" name="Rectangle 144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solidFill>
                <a:srgbClr val="0E000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4" name="Rectangle 145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5" name="Freeform 146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close/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close/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6" name="Freeform 147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7" name="Freeform 148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8" name="Freeform 149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39" name="Freeform 150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4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0" name="Freeform 151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1" name="Freeform 152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  <a:close/>
                  </a:path>
                </a:pathLst>
              </a:custGeom>
              <a:gradFill>
                <a:gsLst>
                  <a:gs pos="0">
                    <a:srgbClr val="B58EA2"/>
                  </a:gs>
                  <a:gs pos="100000">
                    <a:srgbClr val="8D516F">
                      <a:alpha val="69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2" name="Freeform 153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3" name="Freeform 154"/>
              <p:cNvSpPr>
                <a:spLocks noEditPoints="1"/>
              </p:cNvSpPr>
              <p:nvPr userDrawn="1"/>
            </p:nvSpPr>
            <p:spPr bwMode="auto">
              <a:xfrm>
                <a:off x="2714625" y="2440652"/>
                <a:ext cx="1209675" cy="2341563"/>
              </a:xfrm>
              <a:custGeom>
                <a:avLst/>
                <a:gdLst/>
                <a:ahLst/>
                <a:cxnLst>
                  <a:cxn ang="0">
                    <a:pos x="105" y="1475"/>
                  </a:cxn>
                  <a:cxn ang="0">
                    <a:pos x="105" y="1475"/>
                  </a:cxn>
                  <a:cxn ang="0">
                    <a:pos x="762" y="0"/>
                  </a:cxn>
                  <a:cxn ang="0">
                    <a:pos x="0" y="634"/>
                  </a:cxn>
                  <a:cxn ang="0">
                    <a:pos x="50" y="1030"/>
                  </a:cxn>
                  <a:cxn ang="0">
                    <a:pos x="245" y="1158"/>
                  </a:cxn>
                  <a:cxn ang="0">
                    <a:pos x="762" y="0"/>
                  </a:cxn>
                </a:cxnLst>
                <a:rect l="0" t="0" r="r" b="b"/>
                <a:pathLst>
                  <a:path w="762" h="1475">
                    <a:moveTo>
                      <a:pt x="105" y="1475"/>
                    </a:moveTo>
                    <a:lnTo>
                      <a:pt x="105" y="1475"/>
                    </a:lnTo>
                    <a:close/>
                    <a:moveTo>
                      <a:pt x="762" y="0"/>
                    </a:moveTo>
                    <a:lnTo>
                      <a:pt x="0" y="634"/>
                    </a:lnTo>
                    <a:lnTo>
                      <a:pt x="50" y="1030"/>
                    </a:lnTo>
                    <a:lnTo>
                      <a:pt x="245" y="1158"/>
                    </a:lnTo>
                    <a:lnTo>
                      <a:pt x="76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23855">
                      <a:alpha val="92000"/>
                    </a:srgbClr>
                  </a:gs>
                  <a:gs pos="100000">
                    <a:srgbClr val="8D516F">
                      <a:alpha val="80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4" name="Freeform 156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chemeClr val="tx2">
                  <a:alpha val="3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5" name="Freeform 157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6" name="Freeform 158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65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7" name="Freeform 159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8" name="Freeform 160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31000">
                    <a:srgbClr val="77445E">
                      <a:alpha val="90000"/>
                    </a:srgbClr>
                  </a:gs>
                  <a:gs pos="65000">
                    <a:schemeClr val="accent2">
                      <a:alpha val="40000"/>
                    </a:scheme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49" name="Freeform 161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0" name="Freeform 162"/>
              <p:cNvSpPr>
                <a:spLocks/>
              </p:cNvSpPr>
              <p:nvPr userDrawn="1"/>
            </p:nvSpPr>
            <p:spPr bwMode="auto">
              <a:xfrm>
                <a:off x="3925888" y="2450177"/>
                <a:ext cx="1768475" cy="21844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4" y="358"/>
                  </a:cxn>
                  <a:cxn ang="0">
                    <a:pos x="712" y="1376"/>
                  </a:cxn>
                  <a:cxn ang="0">
                    <a:pos x="1114" y="1111"/>
                  </a:cxn>
                  <a:cxn ang="0">
                    <a:pos x="0" y="0"/>
                  </a:cxn>
                </a:cxnLst>
                <a:rect l="0" t="0" r="r" b="b"/>
                <a:pathLst>
                  <a:path w="1114" h="1376">
                    <a:moveTo>
                      <a:pt x="0" y="0"/>
                    </a:moveTo>
                    <a:lnTo>
                      <a:pt x="184" y="358"/>
                    </a:lnTo>
                    <a:lnTo>
                      <a:pt x="712" y="1376"/>
                    </a:lnTo>
                    <a:lnTo>
                      <a:pt x="1114" y="1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1" name="Freeform 164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2" name="Freeform 165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3" name="Freeform 166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05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4" name="Freeform 167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5" name="Freeform 170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56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6" name="Freeform 171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7" name="Freeform 172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8D516F">
                      <a:alpha val="75000"/>
                    </a:srgbClr>
                  </a:gs>
                </a:gsLst>
                <a:lin ang="138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8" name="Freeform 173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59" name="Freeform 174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close/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81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0" name="Freeform 175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1" name="Freeform 176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2" name="Freeform 177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3" name="Freeform 178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514" y="0"/>
                  </a:cxn>
                  <a:cxn ang="0">
                    <a:pos x="0" y="75"/>
                  </a:cxn>
                  <a:cxn ang="0">
                    <a:pos x="134" y="0"/>
                  </a:cxn>
                  <a:cxn ang="0">
                    <a:pos x="57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514" y="0"/>
                    </a:lnTo>
                    <a:lnTo>
                      <a:pt x="0" y="75"/>
                    </a:lnTo>
                    <a:lnTo>
                      <a:pt x="134" y="0"/>
                    </a:lnTo>
                    <a:lnTo>
                      <a:pt x="57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4" name="Freeform 180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5" name="Freeform 181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6" name="Freeform 182"/>
              <p:cNvSpPr>
                <a:spLocks/>
              </p:cNvSpPr>
              <p:nvPr userDrawn="1"/>
            </p:nvSpPr>
            <p:spPr bwMode="auto">
              <a:xfrm>
                <a:off x="8197850" y="1500852"/>
                <a:ext cx="873125" cy="292100"/>
              </a:xfrm>
              <a:custGeom>
                <a:avLst/>
                <a:gdLst/>
                <a:ahLst/>
                <a:cxnLst>
                  <a:cxn ang="0">
                    <a:pos x="447" y="0"/>
                  </a:cxn>
                  <a:cxn ang="0">
                    <a:pos x="0" y="184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447" y="0"/>
                  </a:cxn>
                </a:cxnLst>
                <a:rect l="0" t="0" r="r" b="b"/>
                <a:pathLst>
                  <a:path w="550" h="184">
                    <a:moveTo>
                      <a:pt x="447" y="0"/>
                    </a:moveTo>
                    <a:lnTo>
                      <a:pt x="0" y="184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447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7" name="Freeform 184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8" name="Freeform 185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69" name="Freeform 186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0" name="Freeform 187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1" name="Freeform 188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/>
                  </a:gs>
                  <a:gs pos="100000">
                    <a:srgbClr val="65394F"/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2" name="Freeform 189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3" name="Freeform 190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85000"/>
                    </a:srgbClr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4" name="Freeform 191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5" name="Freeform 192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6" name="Freeform 193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</a:path>
                </a:pathLst>
              </a:custGeom>
              <a:gradFill>
                <a:gsLst>
                  <a:gs pos="0">
                    <a:srgbClr val="65394F">
                      <a:alpha val="58000"/>
                    </a:srgbClr>
                  </a:gs>
                  <a:gs pos="42000">
                    <a:srgbClr val="8D516F">
                      <a:alpha val="45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7" name="Freeform 194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75000"/>
                    </a:srgbClr>
                  </a:gs>
                  <a:gs pos="100000">
                    <a:srgbClr val="65394F">
                      <a:alpha val="76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8" name="Freeform 195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79" name="Freeform 196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0" name="Freeform 197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1" name="Freeform 200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26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2" name="Freeform 201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3" name="Freeform 202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487363" cy="1770063"/>
              </a:xfrm>
              <a:custGeom>
                <a:avLst/>
                <a:gdLst/>
                <a:ahLst/>
                <a:cxnLst>
                  <a:cxn ang="0">
                    <a:pos x="0" y="1115"/>
                  </a:cxn>
                  <a:cxn ang="0">
                    <a:pos x="0" y="11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281" y="0"/>
                  </a:cxn>
                </a:cxnLst>
                <a:rect l="0" t="0" r="r" b="b"/>
                <a:pathLst>
                  <a:path w="307" h="1115">
                    <a:moveTo>
                      <a:pt x="0" y="1115"/>
                    </a:moveTo>
                    <a:lnTo>
                      <a:pt x="0" y="1115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0" y="1115"/>
                    </a:lnTo>
                    <a:lnTo>
                      <a:pt x="307" y="729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chemeClr val="accent2">
                  <a:alpha val="9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4" name="Freeform 204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D6182">
                      <a:alpha val="59000"/>
                    </a:srgbClr>
                  </a:gs>
                  <a:gs pos="100000">
                    <a:srgbClr val="B58EA2">
                      <a:alpha val="53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5" name="Freeform 205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6" name="Freeform 206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7" name="Freeform 207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8" name="Freeform 208"/>
              <p:cNvSpPr>
                <a:spLocks noEditPoints="1"/>
              </p:cNvSpPr>
              <p:nvPr userDrawn="1"/>
            </p:nvSpPr>
            <p:spPr bwMode="auto">
              <a:xfrm>
                <a:off x="1368425" y="2046952"/>
                <a:ext cx="392113" cy="1157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6" y="729"/>
                  </a:cxn>
                  <a:cxn ang="0">
                    <a:pos x="247" y="4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47" h="729">
                    <a:moveTo>
                      <a:pt x="0" y="0"/>
                    </a:moveTo>
                    <a:lnTo>
                      <a:pt x="0" y="0"/>
                    </a:lnTo>
                    <a:lnTo>
                      <a:pt x="26" y="729"/>
                    </a:lnTo>
                    <a:lnTo>
                      <a:pt x="247" y="4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89" name="Freeform 210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0">
                    <a:schemeClr val="tx2">
                      <a:alpha val="57000"/>
                    </a:scheme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0" name="Freeform 211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1" name="Freeform 212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2" name="Freeform 213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3" name="Freeform 214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6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4" name="Freeform 215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5" name="Freeform 216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close/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3000"/>
                    </a:srgbClr>
                  </a:gs>
                  <a:gs pos="48000">
                    <a:srgbClr val="77445E">
                      <a:alpha val="63000"/>
                    </a:srgbClr>
                  </a:gs>
                  <a:gs pos="100000">
                    <a:srgbClr val="65394F">
                      <a:alpha val="69000"/>
                    </a:srgbClr>
                  </a:gs>
                </a:gsLst>
                <a:lin ang="13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6" name="Freeform 217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7" name="Freeform 218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3000"/>
                    </a:srgbClr>
                  </a:gs>
                  <a:gs pos="100000">
                    <a:srgbClr val="723855"/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8" name="Freeform 219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99" name="Freeform 220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8000"/>
                    </a:srgbClr>
                  </a:gs>
                  <a:gs pos="100000">
                    <a:srgbClr val="602A43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0" name="Freeform 221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1" name="Freeform 222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77000"/>
                    </a:srgbClr>
                  </a:gs>
                  <a:gs pos="100000">
                    <a:srgbClr val="9D6182">
                      <a:alpha val="75000"/>
                    </a:srgbClr>
                  </a:gs>
                </a:gsLst>
                <a:lin ang="14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2" name="Freeform 223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3" name="Freeform 224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4" name="Freeform 225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5" name="Rectangle 226"/>
              <p:cNvSpPr>
                <a:spLocks noChangeArrowheads="1"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prstGeom prst="rect">
                <a:avLst/>
              </a:prstGeom>
              <a:solidFill>
                <a:srgbClr val="25000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6" name="Freeform 227"/>
              <p:cNvSpPr>
                <a:spLocks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7" name="Freeform 228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8" name="Freeform 229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09" name="Freeform 230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0" name="Freeform 231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1" name="Freeform 232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2" name="Freeform 233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3" name="Freeform 234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9000"/>
                    </a:srgbClr>
                  </a:gs>
                  <a:gs pos="100000">
                    <a:srgbClr val="65394F">
                      <a:alpha val="92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4" name="Freeform 235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5" name="Freeform 236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32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6" name="Freeform 237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7" name="Freeform 238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18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8" name="Freeform 239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19" name="Freeform 240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0" name="Freeform 241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1" name="Freeform 242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chemeClr val="accent2">
                      <a:alpha val="31000"/>
                    </a:scheme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2" name="Freeform 243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3" name="Freeform 244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4" name="Freeform 245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5" name="Freeform 246"/>
              <p:cNvSpPr>
                <a:spLocks noEditPoints="1"/>
              </p:cNvSpPr>
              <p:nvPr userDrawn="1"/>
            </p:nvSpPr>
            <p:spPr bwMode="auto">
              <a:xfrm>
                <a:off x="9431338" y="1843752"/>
                <a:ext cx="474663" cy="1322388"/>
              </a:xfrm>
              <a:custGeom>
                <a:avLst/>
                <a:gdLst/>
                <a:ahLst/>
                <a:cxnLst>
                  <a:cxn ang="0">
                    <a:pos x="299" y="67"/>
                  </a:cxn>
                  <a:cxn ang="0">
                    <a:pos x="113" y="524"/>
                  </a:cxn>
                  <a:cxn ang="0">
                    <a:pos x="299" y="833"/>
                  </a:cxn>
                  <a:cxn ang="0">
                    <a:pos x="299" y="67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299" y="0"/>
                  </a:cxn>
                </a:cxnLst>
                <a:rect l="0" t="0" r="r" b="b"/>
                <a:pathLst>
                  <a:path w="299" h="833">
                    <a:moveTo>
                      <a:pt x="299" y="67"/>
                    </a:moveTo>
                    <a:lnTo>
                      <a:pt x="113" y="524"/>
                    </a:lnTo>
                    <a:lnTo>
                      <a:pt x="299" y="833"/>
                    </a:lnTo>
                    <a:lnTo>
                      <a:pt x="299" y="67"/>
                    </a:lnTo>
                    <a:close/>
                    <a:moveTo>
                      <a:pt x="299" y="0"/>
                    </a:moveTo>
                    <a:lnTo>
                      <a:pt x="0" y="336"/>
                    </a:lnTo>
                    <a:lnTo>
                      <a:pt x="299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6" name="Freeform 248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close/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7" name="Freeform 249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8" name="Freeform 250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29" name="Freeform 251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0" name="Freeform 252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763588" cy="1060450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481" y="668"/>
                  </a:cxn>
                  <a:cxn ang="0">
                    <a:pos x="481" y="497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0" y="206"/>
                  </a:cxn>
                  <a:cxn ang="0">
                    <a:pos x="182" y="0"/>
                  </a:cxn>
                  <a:cxn ang="0">
                    <a:pos x="182" y="0"/>
                  </a:cxn>
                </a:cxnLst>
                <a:rect l="0" t="0" r="r" b="b"/>
                <a:pathLst>
                  <a:path w="481" h="668">
                    <a:moveTo>
                      <a:pt x="182" y="0"/>
                    </a:move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481" y="668"/>
                    </a:lnTo>
                    <a:lnTo>
                      <a:pt x="481" y="497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0" y="206"/>
                    </a:lnTo>
                    <a:lnTo>
                      <a:pt x="182" y="0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1" name="Freeform 254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2" name="Freeform 255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3" name="Freeform 256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4" name="Freeform 257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5" name="Freeform 258"/>
              <p:cNvSpPr>
                <a:spLocks/>
              </p:cNvSpPr>
              <p:nvPr userDrawn="1"/>
            </p:nvSpPr>
            <p:spPr bwMode="auto">
              <a:xfrm>
                <a:off x="9431338" y="1843752"/>
                <a:ext cx="474663" cy="831850"/>
              </a:xfrm>
              <a:custGeom>
                <a:avLst/>
                <a:gdLst/>
                <a:ahLst/>
                <a:cxnLst>
                  <a:cxn ang="0">
                    <a:pos x="299" y="0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113" y="524"/>
                  </a:cxn>
                  <a:cxn ang="0">
                    <a:pos x="299" y="67"/>
                  </a:cxn>
                  <a:cxn ang="0">
                    <a:pos x="299" y="0"/>
                  </a:cxn>
                </a:cxnLst>
                <a:rect l="0" t="0" r="r" b="b"/>
                <a:pathLst>
                  <a:path w="299" h="524">
                    <a:moveTo>
                      <a:pt x="299" y="0"/>
                    </a:moveTo>
                    <a:lnTo>
                      <a:pt x="299" y="0"/>
                    </a:lnTo>
                    <a:lnTo>
                      <a:pt x="0" y="336"/>
                    </a:lnTo>
                    <a:lnTo>
                      <a:pt x="113" y="524"/>
                    </a:lnTo>
                    <a:lnTo>
                      <a:pt x="299" y="67"/>
                    </a:lnTo>
                    <a:lnTo>
                      <a:pt x="2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6" name="Freeform 260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468313" cy="3270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182" y="0"/>
                  </a:cxn>
                </a:cxnLst>
                <a:rect l="0" t="0" r="r" b="b"/>
                <a:pathLst>
                  <a:path w="295" h="206">
                    <a:moveTo>
                      <a:pt x="182" y="0"/>
                    </a:moveTo>
                    <a:lnTo>
                      <a:pt x="0" y="206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182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7" name="Freeform 262"/>
              <p:cNvSpPr>
                <a:spLocks/>
              </p:cNvSpPr>
              <p:nvPr userDrawn="1"/>
            </p:nvSpPr>
            <p:spPr bwMode="auto">
              <a:xfrm>
                <a:off x="9070975" y="1758027"/>
                <a:ext cx="835025" cy="387350"/>
              </a:xfrm>
              <a:custGeom>
                <a:avLst/>
                <a:gdLst/>
                <a:ahLst/>
                <a:cxnLst>
                  <a:cxn ang="0">
                    <a:pos x="526" y="0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140" y="244"/>
                  </a:cxn>
                  <a:cxn ang="0">
                    <a:pos x="526" y="26"/>
                  </a:cxn>
                  <a:cxn ang="0">
                    <a:pos x="526" y="0"/>
                  </a:cxn>
                </a:cxnLst>
                <a:rect l="0" t="0" r="r" b="b"/>
                <a:pathLst>
                  <a:path w="526" h="244">
                    <a:moveTo>
                      <a:pt x="526" y="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140" y="244"/>
                    </a:lnTo>
                    <a:lnTo>
                      <a:pt x="526" y="26"/>
                    </a:lnTo>
                    <a:lnTo>
                      <a:pt x="52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8" name="Freeform 264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close/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39" name="Freeform 265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0" name="Freeform 266"/>
              <p:cNvSpPr>
                <a:spLocks/>
              </p:cNvSpPr>
              <p:nvPr userDrawn="1"/>
            </p:nvSpPr>
            <p:spPr bwMode="auto">
              <a:xfrm>
                <a:off x="7856538" y="1792952"/>
                <a:ext cx="976313" cy="1160463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215" y="0"/>
                  </a:cxn>
                  <a:cxn ang="0">
                    <a:pos x="0" y="731"/>
                  </a:cxn>
                  <a:cxn ang="0">
                    <a:pos x="615" y="384"/>
                  </a:cxn>
                  <a:cxn ang="0">
                    <a:pos x="215" y="0"/>
                  </a:cxn>
                </a:cxnLst>
                <a:rect l="0" t="0" r="r" b="b"/>
                <a:pathLst>
                  <a:path w="615" h="731">
                    <a:moveTo>
                      <a:pt x="215" y="0"/>
                    </a:moveTo>
                    <a:lnTo>
                      <a:pt x="215" y="0"/>
                    </a:lnTo>
                    <a:lnTo>
                      <a:pt x="0" y="731"/>
                    </a:lnTo>
                    <a:lnTo>
                      <a:pt x="615" y="384"/>
                    </a:lnTo>
                    <a:lnTo>
                      <a:pt x="2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1" name="Freeform 268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1095375" cy="6286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400" y="396"/>
                  </a:cxn>
                  <a:cxn ang="0">
                    <a:pos x="690" y="234"/>
                  </a:cxn>
                  <a:cxn ang="0">
                    <a:pos x="550" y="0"/>
                  </a:cxn>
                </a:cxnLst>
                <a:rect l="0" t="0" r="r" b="b"/>
                <a:pathLst>
                  <a:path w="690" h="396">
                    <a:moveTo>
                      <a:pt x="550" y="0"/>
                    </a:moveTo>
                    <a:lnTo>
                      <a:pt x="0" y="12"/>
                    </a:lnTo>
                    <a:lnTo>
                      <a:pt x="400" y="396"/>
                    </a:lnTo>
                    <a:lnTo>
                      <a:pt x="690" y="234"/>
                    </a:lnTo>
                    <a:lnTo>
                      <a:pt x="550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2" name="Freeform 270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3" name="Freeform 271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4" name="Freeform 272"/>
              <p:cNvSpPr>
                <a:spLocks noEditPoints="1"/>
              </p:cNvSpPr>
              <p:nvPr userDrawn="1"/>
            </p:nvSpPr>
            <p:spPr bwMode="auto">
              <a:xfrm>
                <a:off x="8453438" y="1812002"/>
                <a:ext cx="1452563" cy="1671638"/>
              </a:xfrm>
              <a:custGeom>
                <a:avLst/>
                <a:gdLst/>
                <a:ahLst/>
                <a:cxnLst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915" y="0"/>
                  </a:cxn>
                  <a:cxn ang="0">
                    <a:pos x="557" y="255"/>
                  </a:cxn>
                  <a:cxn ang="0">
                    <a:pos x="616" y="356"/>
                  </a:cxn>
                  <a:cxn ang="0">
                    <a:pos x="915" y="20"/>
                  </a:cxn>
                  <a:cxn ang="0">
                    <a:pos x="915" y="0"/>
                  </a:cxn>
                </a:cxnLst>
                <a:rect l="0" t="0" r="r" b="b"/>
                <a:pathLst>
                  <a:path w="915" h="1053">
                    <a:moveTo>
                      <a:pt x="0" y="1053"/>
                    </a:moveTo>
                    <a:lnTo>
                      <a:pt x="0" y="1053"/>
                    </a:lnTo>
                    <a:lnTo>
                      <a:pt x="0" y="1053"/>
                    </a:lnTo>
                    <a:lnTo>
                      <a:pt x="0" y="1053"/>
                    </a:lnTo>
                    <a:close/>
                    <a:moveTo>
                      <a:pt x="915" y="0"/>
                    </a:moveTo>
                    <a:lnTo>
                      <a:pt x="557" y="255"/>
                    </a:lnTo>
                    <a:lnTo>
                      <a:pt x="616" y="356"/>
                    </a:lnTo>
                    <a:lnTo>
                      <a:pt x="915" y="20"/>
                    </a:lnTo>
                    <a:lnTo>
                      <a:pt x="9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5" name="Freeform 274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6" name="Freeform 275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7" name="Freeform 276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8" name="Freeform 277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49" name="Freeform 278"/>
              <p:cNvSpPr>
                <a:spLocks/>
              </p:cNvSpPr>
              <p:nvPr userDrawn="1"/>
            </p:nvSpPr>
            <p:spPr bwMode="auto">
              <a:xfrm>
                <a:off x="7737475" y="2504152"/>
                <a:ext cx="1404938" cy="979488"/>
              </a:xfrm>
              <a:custGeom>
                <a:avLst/>
                <a:gdLst/>
                <a:ahLst/>
                <a:cxnLst>
                  <a:cxn ang="0">
                    <a:pos x="755" y="0"/>
                  </a:cxn>
                  <a:cxn ang="0">
                    <a:pos x="0" y="538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885" y="126"/>
                  </a:cxn>
                  <a:cxn ang="0">
                    <a:pos x="755" y="0"/>
                  </a:cxn>
                </a:cxnLst>
                <a:rect l="0" t="0" r="r" b="b"/>
                <a:pathLst>
                  <a:path w="885" h="617">
                    <a:moveTo>
                      <a:pt x="755" y="0"/>
                    </a:moveTo>
                    <a:lnTo>
                      <a:pt x="0" y="538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885" y="126"/>
                    </a:lnTo>
                    <a:lnTo>
                      <a:pt x="755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723855">
                      <a:alpha val="49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0" name="Freeform 280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1" name="Freeform 281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2" name="Freeform 282"/>
              <p:cNvSpPr>
                <a:spLocks/>
              </p:cNvSpPr>
              <p:nvPr userDrawn="1"/>
            </p:nvSpPr>
            <p:spPr bwMode="auto">
              <a:xfrm>
                <a:off x="8936038" y="2216815"/>
                <a:ext cx="495300" cy="487363"/>
              </a:xfrm>
              <a:custGeom>
                <a:avLst/>
                <a:gdLst/>
                <a:ahLst/>
                <a:cxnLst>
                  <a:cxn ang="0">
                    <a:pos x="253" y="0"/>
                  </a:cxn>
                  <a:cxn ang="0">
                    <a:pos x="0" y="181"/>
                  </a:cxn>
                  <a:cxn ang="0">
                    <a:pos x="130" y="307"/>
                  </a:cxn>
                  <a:cxn ang="0">
                    <a:pos x="312" y="101"/>
                  </a:cxn>
                  <a:cxn ang="0">
                    <a:pos x="253" y="0"/>
                  </a:cxn>
                </a:cxnLst>
                <a:rect l="0" t="0" r="r" b="b"/>
                <a:pathLst>
                  <a:path w="312" h="307">
                    <a:moveTo>
                      <a:pt x="253" y="0"/>
                    </a:moveTo>
                    <a:lnTo>
                      <a:pt x="0" y="181"/>
                    </a:lnTo>
                    <a:lnTo>
                      <a:pt x="130" y="307"/>
                    </a:lnTo>
                    <a:lnTo>
                      <a:pt x="312" y="101"/>
                    </a:lnTo>
                    <a:lnTo>
                      <a:pt x="253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3" name="Freeform 284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4" name="Freeform 285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5" name="Freeform 286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134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134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6" name="Freeform 288"/>
              <p:cNvSpPr>
                <a:spLocks/>
              </p:cNvSpPr>
              <p:nvPr userDrawn="1"/>
            </p:nvSpPr>
            <p:spPr bwMode="auto">
              <a:xfrm>
                <a:off x="9293225" y="1799302"/>
                <a:ext cx="612775" cy="417513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0" y="218"/>
                  </a:cxn>
                  <a:cxn ang="0">
                    <a:pos x="28" y="263"/>
                  </a:cxn>
                  <a:cxn ang="0">
                    <a:pos x="386" y="8"/>
                  </a:cxn>
                  <a:cxn ang="0">
                    <a:pos x="386" y="0"/>
                  </a:cxn>
                </a:cxnLst>
                <a:rect l="0" t="0" r="r" b="b"/>
                <a:pathLst>
                  <a:path w="386" h="263">
                    <a:moveTo>
                      <a:pt x="386" y="0"/>
                    </a:moveTo>
                    <a:lnTo>
                      <a:pt x="0" y="218"/>
                    </a:lnTo>
                    <a:lnTo>
                      <a:pt x="28" y="263"/>
                    </a:lnTo>
                    <a:lnTo>
                      <a:pt x="386" y="8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7" name="Freeform 290"/>
              <p:cNvSpPr>
                <a:spLocks/>
              </p:cNvSpPr>
              <p:nvPr userDrawn="1"/>
            </p:nvSpPr>
            <p:spPr bwMode="auto">
              <a:xfrm>
                <a:off x="7737475" y="2402552"/>
                <a:ext cx="1198563" cy="955675"/>
              </a:xfrm>
              <a:custGeom>
                <a:avLst/>
                <a:gdLst/>
                <a:ahLst/>
                <a:cxnLst>
                  <a:cxn ang="0">
                    <a:pos x="690" y="0"/>
                  </a:cxn>
                  <a:cxn ang="0">
                    <a:pos x="75" y="347"/>
                  </a:cxn>
                  <a:cxn ang="0">
                    <a:pos x="0" y="602"/>
                  </a:cxn>
                  <a:cxn ang="0">
                    <a:pos x="755" y="64"/>
                  </a:cxn>
                  <a:cxn ang="0">
                    <a:pos x="690" y="0"/>
                  </a:cxn>
                </a:cxnLst>
                <a:rect l="0" t="0" r="r" b="b"/>
                <a:pathLst>
                  <a:path w="755" h="602">
                    <a:moveTo>
                      <a:pt x="690" y="0"/>
                    </a:moveTo>
                    <a:lnTo>
                      <a:pt x="75" y="347"/>
                    </a:lnTo>
                    <a:lnTo>
                      <a:pt x="0" y="602"/>
                    </a:lnTo>
                    <a:lnTo>
                      <a:pt x="755" y="64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8" name="Freeform 292"/>
              <p:cNvSpPr>
                <a:spLocks/>
              </p:cNvSpPr>
              <p:nvPr userDrawn="1"/>
            </p:nvSpPr>
            <p:spPr bwMode="auto">
              <a:xfrm>
                <a:off x="8832850" y="2145377"/>
                <a:ext cx="504825" cy="358775"/>
              </a:xfrm>
              <a:custGeom>
                <a:avLst/>
                <a:gdLst/>
                <a:ahLst/>
                <a:cxnLst>
                  <a:cxn ang="0">
                    <a:pos x="290" y="0"/>
                  </a:cxn>
                  <a:cxn ang="0">
                    <a:pos x="0" y="162"/>
                  </a:cxn>
                  <a:cxn ang="0">
                    <a:pos x="65" y="226"/>
                  </a:cxn>
                  <a:cxn ang="0">
                    <a:pos x="318" y="45"/>
                  </a:cxn>
                  <a:cxn ang="0">
                    <a:pos x="290" y="0"/>
                  </a:cxn>
                </a:cxnLst>
                <a:rect l="0" t="0" r="r" b="b"/>
                <a:pathLst>
                  <a:path w="318" h="226">
                    <a:moveTo>
                      <a:pt x="290" y="0"/>
                    </a:moveTo>
                    <a:lnTo>
                      <a:pt x="0" y="162"/>
                    </a:lnTo>
                    <a:lnTo>
                      <a:pt x="65" y="226"/>
                    </a:lnTo>
                    <a:lnTo>
                      <a:pt x="318" y="45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59" name="Freeform 294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60" name="Freeform 295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61" name="Freeform 296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62" name="Freeform 297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63" name="Freeform 298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64" name="Freeform 299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65" name="Freeform 300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66" name="Freeform 301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  <p:sp>
            <p:nvSpPr>
              <p:cNvPr id="167" name="Freeform 302"/>
              <p:cNvSpPr>
                <a:spLocks/>
              </p:cNvSpPr>
              <p:nvPr userDrawn="1"/>
            </p:nvSpPr>
            <p:spPr bwMode="auto">
              <a:xfrm>
                <a:off x="8907463" y="1500852"/>
                <a:ext cx="998538" cy="2730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3" y="172"/>
                  </a:cxn>
                  <a:cxn ang="0">
                    <a:pos x="629" y="162"/>
                  </a:cxn>
                  <a:cxn ang="0">
                    <a:pos x="629" y="148"/>
                  </a:cxn>
                  <a:cxn ang="0">
                    <a:pos x="0" y="0"/>
                  </a:cxn>
                </a:cxnLst>
                <a:rect l="0" t="0" r="r" b="b"/>
                <a:pathLst>
                  <a:path w="629" h="172">
                    <a:moveTo>
                      <a:pt x="0" y="0"/>
                    </a:moveTo>
                    <a:lnTo>
                      <a:pt x="0" y="0"/>
                    </a:lnTo>
                    <a:lnTo>
                      <a:pt x="103" y="172"/>
                    </a:lnTo>
                    <a:lnTo>
                      <a:pt x="629" y="162"/>
                    </a:lnTo>
                    <a:lnTo>
                      <a:pt x="629" y="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463"/>
              </a:p>
            </p:txBody>
          </p:sp>
        </p:grpSp>
        <p:sp>
          <p:nvSpPr>
            <p:cNvPr id="118790" name="Line 6"/>
            <p:cNvSpPr>
              <a:spLocks noChangeShapeType="1"/>
            </p:cNvSpPr>
            <p:nvPr userDrawn="1"/>
          </p:nvSpPr>
          <p:spPr bwMode="auto">
            <a:xfrm flipH="1">
              <a:off x="9436893" y="1844781"/>
              <a:ext cx="469105" cy="5340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791" name="Freeform 7"/>
            <p:cNvSpPr>
              <a:spLocks/>
            </p:cNvSpPr>
            <p:nvPr userDrawn="1"/>
          </p:nvSpPr>
          <p:spPr bwMode="auto">
            <a:xfrm>
              <a:off x="6707187" y="1517650"/>
              <a:ext cx="3189288" cy="3371850"/>
            </a:xfrm>
            <a:custGeom>
              <a:avLst/>
              <a:gdLst>
                <a:gd name="connsiteX0" fmla="*/ 0 w 10000"/>
                <a:gd name="connsiteY0" fmla="*/ 10000 h 10000"/>
                <a:gd name="connsiteX1" fmla="*/ 683 w 10000"/>
                <a:gd name="connsiteY1" fmla="*/ 5766 h 10000"/>
                <a:gd name="connsiteX2" fmla="*/ 4440 w 10000"/>
                <a:gd name="connsiteY2" fmla="*/ 0 h 10000"/>
                <a:gd name="connsiteX3" fmla="*/ 10000 w 10000"/>
                <a:gd name="connsiteY3" fmla="*/ 69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228" y="8589"/>
                    <a:pt x="455" y="7177"/>
                    <a:pt x="683" y="5766"/>
                  </a:cubicBezTo>
                  <a:lnTo>
                    <a:pt x="4440" y="0"/>
                  </a:lnTo>
                  <a:lnTo>
                    <a:pt x="10000" y="69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792" name="Freeform 8"/>
            <p:cNvSpPr>
              <a:spLocks/>
            </p:cNvSpPr>
            <p:nvPr userDrawn="1"/>
          </p:nvSpPr>
          <p:spPr bwMode="auto">
            <a:xfrm>
              <a:off x="8123237" y="1517649"/>
              <a:ext cx="1314476" cy="1950064"/>
            </a:xfrm>
            <a:custGeom>
              <a:avLst/>
              <a:gdLst>
                <a:gd name="connsiteX0" fmla="*/ 3807 w 10000"/>
                <a:gd name="connsiteY0" fmla="*/ 9977 h 9977"/>
                <a:gd name="connsiteX1" fmla="*/ 10000 w 10000"/>
                <a:gd name="connsiteY1" fmla="*/ 5214 h 9977"/>
                <a:gd name="connsiteX2" fmla="*/ 0 w 10000"/>
                <a:gd name="connsiteY2" fmla="*/ 0 h 9977"/>
                <a:gd name="connsiteX0" fmla="*/ 3807 w 10000"/>
                <a:gd name="connsiteY0" fmla="*/ 10000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309 w 10000"/>
                <a:gd name="connsiteY0" fmla="*/ 9348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677 w 10000"/>
                <a:gd name="connsiteY0" fmla="*/ 10753 h 10753"/>
                <a:gd name="connsiteX1" fmla="*/ 10000 w 10000"/>
                <a:gd name="connsiteY1" fmla="*/ 5226 h 10753"/>
                <a:gd name="connsiteX2" fmla="*/ 0 w 10000"/>
                <a:gd name="connsiteY2" fmla="*/ 0 h 10753"/>
                <a:gd name="connsiteX0" fmla="*/ 2677 w 10602"/>
                <a:gd name="connsiteY0" fmla="*/ 10753 h 10753"/>
                <a:gd name="connsiteX1" fmla="*/ 10602 w 10602"/>
                <a:gd name="connsiteY1" fmla="*/ 4781 h 10753"/>
                <a:gd name="connsiteX2" fmla="*/ 0 w 10602"/>
                <a:gd name="connsiteY2" fmla="*/ 0 h 1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02" h="10753">
                  <a:moveTo>
                    <a:pt x="2677" y="10753"/>
                  </a:moveTo>
                  <a:lnTo>
                    <a:pt x="10602" y="478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793" name="Line 9"/>
            <p:cNvSpPr>
              <a:spLocks noChangeShapeType="1"/>
            </p:cNvSpPr>
            <p:nvPr userDrawn="1"/>
          </p:nvSpPr>
          <p:spPr bwMode="auto">
            <a:xfrm>
              <a:off x="6958012" y="3476625"/>
              <a:ext cx="2193925" cy="18557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794" name="Freeform 10"/>
            <p:cNvSpPr>
              <a:spLocks/>
            </p:cNvSpPr>
            <p:nvPr userDrawn="1"/>
          </p:nvSpPr>
          <p:spPr bwMode="auto">
            <a:xfrm>
              <a:off x="979755" y="2067452"/>
              <a:ext cx="8463254" cy="3291094"/>
            </a:xfrm>
            <a:custGeom>
              <a:avLst/>
              <a:gdLst>
                <a:gd name="connsiteX0" fmla="*/ 467 w 10000"/>
                <a:gd name="connsiteY0" fmla="*/ 0 h 9881"/>
                <a:gd name="connsiteX1" fmla="*/ 2027 w 10000"/>
                <a:gd name="connsiteY1" fmla="*/ 3291 h 9881"/>
                <a:gd name="connsiteX2" fmla="*/ 3508 w 10000"/>
                <a:gd name="connsiteY2" fmla="*/ 1076 h 9881"/>
                <a:gd name="connsiteX3" fmla="*/ 7135 w 10000"/>
                <a:gd name="connsiteY3" fmla="*/ 4066 h 9881"/>
                <a:gd name="connsiteX4" fmla="*/ 10000 w 10000"/>
                <a:gd name="connsiteY4" fmla="*/ 1130 h 9881"/>
                <a:gd name="connsiteX5" fmla="*/ 9749 w 10000"/>
                <a:gd name="connsiteY5" fmla="*/ 9453 h 9881"/>
                <a:gd name="connsiteX6" fmla="*/ 8972 w 10000"/>
                <a:gd name="connsiteY6" fmla="*/ 3628 h 9881"/>
                <a:gd name="connsiteX7" fmla="*/ 6836 w 10000"/>
                <a:gd name="connsiteY7" fmla="*/ 8168 h 9881"/>
                <a:gd name="connsiteX8" fmla="*/ 3508 w 10000"/>
                <a:gd name="connsiteY8" fmla="*/ 1076 h 9881"/>
                <a:gd name="connsiteX9" fmla="*/ 5359 w 10000"/>
                <a:gd name="connsiteY9" fmla="*/ 9881 h 9881"/>
                <a:gd name="connsiteX10" fmla="*/ 5359 w 10000"/>
                <a:gd name="connsiteY10" fmla="*/ 9881 h 9881"/>
                <a:gd name="connsiteX11" fmla="*/ 2030 w 10000"/>
                <a:gd name="connsiteY11" fmla="*/ 3255 h 9881"/>
                <a:gd name="connsiteX12" fmla="*/ 0 w 10000"/>
                <a:gd name="connsiteY12" fmla="*/ 9271 h 9881"/>
                <a:gd name="connsiteX13" fmla="*/ 3508 w 10000"/>
                <a:gd name="connsiteY13" fmla="*/ 1076 h 9881"/>
                <a:gd name="connsiteX0" fmla="*/ 467 w 10000"/>
                <a:gd name="connsiteY0" fmla="*/ 0 h 10000"/>
                <a:gd name="connsiteX1" fmla="*/ 2027 w 10000"/>
                <a:gd name="connsiteY1" fmla="*/ 3331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2 w 10000"/>
                <a:gd name="connsiteY11" fmla="*/ 3221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44 w 10000"/>
                <a:gd name="connsiteY11" fmla="*/ 3274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1 w 9994"/>
                <a:gd name="connsiteY0" fmla="*/ 0 h 10000"/>
                <a:gd name="connsiteX1" fmla="*/ 2039 w 9994"/>
                <a:gd name="connsiteY1" fmla="*/ 3257 h 10000"/>
                <a:gd name="connsiteX2" fmla="*/ 3502 w 9994"/>
                <a:gd name="connsiteY2" fmla="*/ 1089 h 10000"/>
                <a:gd name="connsiteX3" fmla="*/ 7129 w 9994"/>
                <a:gd name="connsiteY3" fmla="*/ 4115 h 10000"/>
                <a:gd name="connsiteX4" fmla="*/ 9994 w 9994"/>
                <a:gd name="connsiteY4" fmla="*/ 1144 h 10000"/>
                <a:gd name="connsiteX5" fmla="*/ 9743 w 9994"/>
                <a:gd name="connsiteY5" fmla="*/ 9567 h 10000"/>
                <a:gd name="connsiteX6" fmla="*/ 8966 w 9994"/>
                <a:gd name="connsiteY6" fmla="*/ 3672 h 10000"/>
                <a:gd name="connsiteX7" fmla="*/ 6830 w 9994"/>
                <a:gd name="connsiteY7" fmla="*/ 8266 h 10000"/>
                <a:gd name="connsiteX8" fmla="*/ 3502 w 9994"/>
                <a:gd name="connsiteY8" fmla="*/ 1089 h 10000"/>
                <a:gd name="connsiteX9" fmla="*/ 5353 w 9994"/>
                <a:gd name="connsiteY9" fmla="*/ 10000 h 10000"/>
                <a:gd name="connsiteX10" fmla="*/ 5353 w 9994"/>
                <a:gd name="connsiteY10" fmla="*/ 10000 h 10000"/>
                <a:gd name="connsiteX11" fmla="*/ 2038 w 9994"/>
                <a:gd name="connsiteY11" fmla="*/ 3274 h 10000"/>
                <a:gd name="connsiteX12" fmla="*/ 0 w 9994"/>
                <a:gd name="connsiteY12" fmla="*/ 9312 h 10000"/>
                <a:gd name="connsiteX13" fmla="*/ 3502 w 9994"/>
                <a:gd name="connsiteY13" fmla="*/ 1089 h 10000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9 w 10000"/>
                <a:gd name="connsiteY11" fmla="*/ 3291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43 w 10000"/>
                <a:gd name="connsiteY7" fmla="*/ 823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280"/>
                <a:gd name="connsiteX1" fmla="*/ 2036 w 10000"/>
                <a:gd name="connsiteY1" fmla="*/ 3258 h 10280"/>
                <a:gd name="connsiteX2" fmla="*/ 3504 w 10000"/>
                <a:gd name="connsiteY2" fmla="*/ 1106 h 10280"/>
                <a:gd name="connsiteX3" fmla="*/ 7133 w 10000"/>
                <a:gd name="connsiteY3" fmla="*/ 4132 h 10280"/>
                <a:gd name="connsiteX4" fmla="*/ 10000 w 10000"/>
                <a:gd name="connsiteY4" fmla="*/ 1161 h 10280"/>
                <a:gd name="connsiteX5" fmla="*/ 9749 w 10000"/>
                <a:gd name="connsiteY5" fmla="*/ 9584 h 10280"/>
                <a:gd name="connsiteX6" fmla="*/ 8971 w 10000"/>
                <a:gd name="connsiteY6" fmla="*/ 3689 h 10280"/>
                <a:gd name="connsiteX7" fmla="*/ 6838 w 10000"/>
                <a:gd name="connsiteY7" fmla="*/ 8194 h 10280"/>
                <a:gd name="connsiteX8" fmla="*/ 3504 w 10000"/>
                <a:gd name="connsiteY8" fmla="*/ 1106 h 10280"/>
                <a:gd name="connsiteX9" fmla="*/ 5356 w 10000"/>
                <a:gd name="connsiteY9" fmla="*/ 10017 h 10280"/>
                <a:gd name="connsiteX10" fmla="*/ 5431 w 10000"/>
                <a:gd name="connsiteY10" fmla="*/ 10280 h 10280"/>
                <a:gd name="connsiteX11" fmla="*/ 2032 w 10000"/>
                <a:gd name="connsiteY11" fmla="*/ 3324 h 10280"/>
                <a:gd name="connsiteX12" fmla="*/ 0 w 10000"/>
                <a:gd name="connsiteY12" fmla="*/ 9329 h 10280"/>
                <a:gd name="connsiteX13" fmla="*/ 3504 w 10000"/>
                <a:gd name="connsiteY13" fmla="*/ 1106 h 10280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9584"/>
                <a:gd name="connsiteX1" fmla="*/ 2036 w 10000"/>
                <a:gd name="connsiteY1" fmla="*/ 3258 h 9584"/>
                <a:gd name="connsiteX2" fmla="*/ 3504 w 10000"/>
                <a:gd name="connsiteY2" fmla="*/ 1106 h 9584"/>
                <a:gd name="connsiteX3" fmla="*/ 7133 w 10000"/>
                <a:gd name="connsiteY3" fmla="*/ 4132 h 9584"/>
                <a:gd name="connsiteX4" fmla="*/ 10000 w 10000"/>
                <a:gd name="connsiteY4" fmla="*/ 1161 h 9584"/>
                <a:gd name="connsiteX5" fmla="*/ 9749 w 10000"/>
                <a:gd name="connsiteY5" fmla="*/ 9584 h 9584"/>
                <a:gd name="connsiteX6" fmla="*/ 8971 w 10000"/>
                <a:gd name="connsiteY6" fmla="*/ 3689 h 9584"/>
                <a:gd name="connsiteX7" fmla="*/ 6838 w 10000"/>
                <a:gd name="connsiteY7" fmla="*/ 8194 h 9584"/>
                <a:gd name="connsiteX8" fmla="*/ 3504 w 10000"/>
                <a:gd name="connsiteY8" fmla="*/ 1106 h 9584"/>
                <a:gd name="connsiteX9" fmla="*/ 5297 w 10000"/>
                <a:gd name="connsiteY9" fmla="*/ 9538 h 9584"/>
                <a:gd name="connsiteX10" fmla="*/ 2032 w 10000"/>
                <a:gd name="connsiteY10" fmla="*/ 3324 h 9584"/>
                <a:gd name="connsiteX11" fmla="*/ 0 w 10000"/>
                <a:gd name="connsiteY11" fmla="*/ 9329 h 9584"/>
                <a:gd name="connsiteX12" fmla="*/ 3504 w 10000"/>
                <a:gd name="connsiteY12" fmla="*/ 1106 h 9584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10 w 10000"/>
                <a:gd name="connsiteY12" fmla="*/ 114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97 w 10000"/>
                <a:gd name="connsiteY6" fmla="*/ 3793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68 w 10000"/>
                <a:gd name="connsiteY6" fmla="*/ 38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9952"/>
                <a:gd name="connsiteX1" fmla="*/ 2036 w 10000"/>
                <a:gd name="connsiteY1" fmla="*/ 3399 h 9952"/>
                <a:gd name="connsiteX2" fmla="*/ 3504 w 10000"/>
                <a:gd name="connsiteY2" fmla="*/ 1154 h 9952"/>
                <a:gd name="connsiteX3" fmla="*/ 7133 w 10000"/>
                <a:gd name="connsiteY3" fmla="*/ 4311 h 9952"/>
                <a:gd name="connsiteX4" fmla="*/ 10000 w 10000"/>
                <a:gd name="connsiteY4" fmla="*/ 1211 h 9952"/>
                <a:gd name="connsiteX5" fmla="*/ 9786 w 10000"/>
                <a:gd name="connsiteY5" fmla="*/ 9909 h 9952"/>
                <a:gd name="connsiteX6" fmla="*/ 8915 w 10000"/>
                <a:gd name="connsiteY6" fmla="*/ 4284 h 9952"/>
                <a:gd name="connsiteX7" fmla="*/ 6838 w 10000"/>
                <a:gd name="connsiteY7" fmla="*/ 8550 h 9952"/>
                <a:gd name="connsiteX8" fmla="*/ 3525 w 10000"/>
                <a:gd name="connsiteY8" fmla="*/ 1183 h 9952"/>
                <a:gd name="connsiteX9" fmla="*/ 5297 w 10000"/>
                <a:gd name="connsiteY9" fmla="*/ 9952 h 9952"/>
                <a:gd name="connsiteX10" fmla="*/ 2032 w 10000"/>
                <a:gd name="connsiteY10" fmla="*/ 3468 h 9952"/>
                <a:gd name="connsiteX11" fmla="*/ 0 w 10000"/>
                <a:gd name="connsiteY11" fmla="*/ 9734 h 9952"/>
                <a:gd name="connsiteX12" fmla="*/ 3504 w 10000"/>
                <a:gd name="connsiteY12" fmla="*/ 1151 h 9952"/>
                <a:gd name="connsiteX0" fmla="*/ 487 w 10103"/>
                <a:gd name="connsiteY0" fmla="*/ 0 h 10000"/>
                <a:gd name="connsiteX1" fmla="*/ 2036 w 10103"/>
                <a:gd name="connsiteY1" fmla="*/ 3415 h 10000"/>
                <a:gd name="connsiteX2" fmla="*/ 3504 w 10103"/>
                <a:gd name="connsiteY2" fmla="*/ 1160 h 10000"/>
                <a:gd name="connsiteX3" fmla="*/ 7133 w 10103"/>
                <a:gd name="connsiteY3" fmla="*/ 4332 h 10000"/>
                <a:gd name="connsiteX4" fmla="*/ 10103 w 10103"/>
                <a:gd name="connsiteY4" fmla="*/ 970 h 10000"/>
                <a:gd name="connsiteX5" fmla="*/ 9786 w 10103"/>
                <a:gd name="connsiteY5" fmla="*/ 9957 h 10000"/>
                <a:gd name="connsiteX6" fmla="*/ 8915 w 10103"/>
                <a:gd name="connsiteY6" fmla="*/ 4305 h 10000"/>
                <a:gd name="connsiteX7" fmla="*/ 6838 w 10103"/>
                <a:gd name="connsiteY7" fmla="*/ 8591 h 10000"/>
                <a:gd name="connsiteX8" fmla="*/ 3525 w 10103"/>
                <a:gd name="connsiteY8" fmla="*/ 1189 h 10000"/>
                <a:gd name="connsiteX9" fmla="*/ 5297 w 10103"/>
                <a:gd name="connsiteY9" fmla="*/ 10000 h 10000"/>
                <a:gd name="connsiteX10" fmla="*/ 2032 w 10103"/>
                <a:gd name="connsiteY10" fmla="*/ 3485 h 10000"/>
                <a:gd name="connsiteX11" fmla="*/ 0 w 10103"/>
                <a:gd name="connsiteY11" fmla="*/ 9781 h 10000"/>
                <a:gd name="connsiteX12" fmla="*/ 3504 w 10103"/>
                <a:gd name="connsiteY12" fmla="*/ 1157 h 10000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03" h="10072">
                  <a:moveTo>
                    <a:pt x="487" y="0"/>
                  </a:moveTo>
                  <a:lnTo>
                    <a:pt x="2036" y="3415"/>
                  </a:lnTo>
                  <a:lnTo>
                    <a:pt x="3504" y="1160"/>
                  </a:lnTo>
                  <a:lnTo>
                    <a:pt x="7133" y="4332"/>
                  </a:lnTo>
                  <a:lnTo>
                    <a:pt x="10103" y="970"/>
                  </a:lnTo>
                  <a:cubicBezTo>
                    <a:pt x="10019" y="3914"/>
                    <a:pt x="9884" y="7128"/>
                    <a:pt x="9800" y="10072"/>
                  </a:cubicBezTo>
                  <a:cubicBezTo>
                    <a:pt x="9521" y="8106"/>
                    <a:pt x="8989" y="4756"/>
                    <a:pt x="8915" y="4305"/>
                  </a:cubicBezTo>
                  <a:lnTo>
                    <a:pt x="6838" y="8591"/>
                  </a:lnTo>
                  <a:lnTo>
                    <a:pt x="3525" y="1189"/>
                  </a:lnTo>
                  <a:cubicBezTo>
                    <a:pt x="3636" y="1697"/>
                    <a:pt x="5175" y="9512"/>
                    <a:pt x="5297" y="10000"/>
                  </a:cubicBezTo>
                  <a:cubicBezTo>
                    <a:pt x="5259" y="9913"/>
                    <a:pt x="2743" y="4942"/>
                    <a:pt x="2032" y="3485"/>
                  </a:cubicBezTo>
                  <a:lnTo>
                    <a:pt x="0" y="9781"/>
                  </a:lnTo>
                  <a:lnTo>
                    <a:pt x="3504" y="115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795" name="Freeform 11"/>
            <p:cNvSpPr>
              <a:spLocks/>
            </p:cNvSpPr>
            <p:nvPr userDrawn="1"/>
          </p:nvSpPr>
          <p:spPr bwMode="auto">
            <a:xfrm>
              <a:off x="1374775" y="2047876"/>
              <a:ext cx="7793037" cy="3284538"/>
            </a:xfrm>
            <a:custGeom>
              <a:avLst/>
              <a:gdLst>
                <a:gd name="connsiteX0" fmla="*/ 0 w 10000"/>
                <a:gd name="connsiteY0" fmla="*/ 0 h 10000"/>
                <a:gd name="connsiteX1" fmla="*/ 1942 w 10000"/>
                <a:gd name="connsiteY1" fmla="*/ 8391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087 w 10000"/>
                <a:gd name="connsiteY5" fmla="*/ 3984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81 w 10000"/>
                <a:gd name="connsiteY5" fmla="*/ 3872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32 w 10000"/>
                <a:gd name="connsiteY5" fmla="*/ 39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0 w 10000"/>
                <a:gd name="connsiteY5" fmla="*/ 43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7 w 10000"/>
                <a:gd name="connsiteY5" fmla="*/ 43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82 w 10000"/>
                <a:gd name="connsiteY5" fmla="*/ 4248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03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42 w 10000"/>
                <a:gd name="connsiteY1" fmla="*/ 8411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51 w 10000"/>
                <a:gd name="connsiteY1" fmla="*/ 8400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6 w 10000"/>
                <a:gd name="connsiteY1" fmla="*/ 840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35 w 10000"/>
                <a:gd name="connsiteY1" fmla="*/ 836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9 w 10000"/>
                <a:gd name="connsiteY1" fmla="*/ 8327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929" y="8327"/>
                  </a:lnTo>
                  <a:lnTo>
                    <a:pt x="3266" y="1183"/>
                  </a:lnTo>
                  <a:lnTo>
                    <a:pt x="5550" y="6643"/>
                  </a:lnTo>
                  <a:cubicBezTo>
                    <a:pt x="5670" y="5614"/>
                    <a:pt x="5775" y="5035"/>
                    <a:pt x="5895" y="4006"/>
                  </a:cubicBezTo>
                  <a:lnTo>
                    <a:pt x="8195" y="3986"/>
                  </a:lnTo>
                  <a:lnTo>
                    <a:pt x="9069" y="4348"/>
                  </a:lnTo>
                  <a:lnTo>
                    <a:pt x="5535" y="6646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796" name="Line 12"/>
            <p:cNvSpPr>
              <a:spLocks noChangeShapeType="1"/>
            </p:cNvSpPr>
            <p:nvPr userDrawn="1"/>
          </p:nvSpPr>
          <p:spPr bwMode="auto">
            <a:xfrm flipH="1" flipV="1">
              <a:off x="5965824" y="3363913"/>
              <a:ext cx="739775" cy="149860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797" name="Line 13"/>
            <p:cNvSpPr>
              <a:spLocks noChangeShapeType="1"/>
            </p:cNvSpPr>
            <p:nvPr userDrawn="1"/>
          </p:nvSpPr>
          <p:spPr bwMode="auto">
            <a:xfrm flipH="1" flipV="1">
              <a:off x="2873375" y="4785677"/>
              <a:ext cx="2534444" cy="53022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798" name="Freeform 14"/>
            <p:cNvSpPr>
              <a:spLocks/>
            </p:cNvSpPr>
            <p:nvPr userDrawn="1"/>
          </p:nvSpPr>
          <p:spPr bwMode="auto">
            <a:xfrm>
              <a:off x="9442445" y="2384680"/>
              <a:ext cx="458797" cy="774168"/>
            </a:xfrm>
            <a:custGeom>
              <a:avLst/>
              <a:gdLst>
                <a:gd name="connsiteX0" fmla="*/ 8512 w 8512"/>
                <a:gd name="connsiteY0" fmla="*/ 10921 h 10921"/>
                <a:gd name="connsiteX1" fmla="*/ 0 w 8512"/>
                <a:gd name="connsiteY1" fmla="*/ 0 h 10921"/>
                <a:gd name="connsiteX2" fmla="*/ 8512 w 8512"/>
                <a:gd name="connsiteY2" fmla="*/ 2461 h 10921"/>
                <a:gd name="connsiteX0" fmla="*/ 9948 w 10000"/>
                <a:gd name="connsiteY0" fmla="*/ 7966 h 7966"/>
                <a:gd name="connsiteX1" fmla="*/ 0 w 10000"/>
                <a:gd name="connsiteY1" fmla="*/ 0 h 7966"/>
                <a:gd name="connsiteX2" fmla="*/ 10000 w 10000"/>
                <a:gd name="connsiteY2" fmla="*/ 2253 h 7966"/>
                <a:gd name="connsiteX0" fmla="*/ 10105 w 10105"/>
                <a:gd name="connsiteY0" fmla="*/ 10155 h 10155"/>
                <a:gd name="connsiteX1" fmla="*/ 0 w 10105"/>
                <a:gd name="connsiteY1" fmla="*/ 0 h 10155"/>
                <a:gd name="connsiteX2" fmla="*/ 10000 w 10105"/>
                <a:gd name="connsiteY2" fmla="*/ 2828 h 1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05" h="10155">
                  <a:moveTo>
                    <a:pt x="10105" y="10155"/>
                  </a:moveTo>
                  <a:lnTo>
                    <a:pt x="0" y="0"/>
                  </a:lnTo>
                  <a:lnTo>
                    <a:pt x="10000" y="2828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799" name="Line 15"/>
            <p:cNvSpPr>
              <a:spLocks noChangeShapeType="1"/>
            </p:cNvSpPr>
            <p:nvPr userDrawn="1"/>
          </p:nvSpPr>
          <p:spPr bwMode="auto">
            <a:xfrm flipV="1">
              <a:off x="9151937" y="4446588"/>
              <a:ext cx="744538" cy="90805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0" name="Line 16"/>
            <p:cNvSpPr>
              <a:spLocks noChangeShapeType="1"/>
            </p:cNvSpPr>
            <p:nvPr userDrawn="1"/>
          </p:nvSpPr>
          <p:spPr bwMode="auto">
            <a:xfrm flipH="1" flipV="1">
              <a:off x="8453438" y="3474243"/>
              <a:ext cx="1452562" cy="2643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1" name="Line 17"/>
            <p:cNvSpPr>
              <a:spLocks noChangeShapeType="1"/>
            </p:cNvSpPr>
            <p:nvPr userDrawn="1"/>
          </p:nvSpPr>
          <p:spPr bwMode="auto">
            <a:xfrm flipV="1">
              <a:off x="6705600" y="4073524"/>
              <a:ext cx="3190875" cy="79613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2" name="Freeform 18"/>
            <p:cNvSpPr>
              <a:spLocks/>
            </p:cNvSpPr>
            <p:nvPr userDrawn="1"/>
          </p:nvSpPr>
          <p:spPr bwMode="auto">
            <a:xfrm>
              <a:off x="347662" y="3211751"/>
              <a:ext cx="5618163" cy="1596787"/>
            </a:xfrm>
            <a:custGeom>
              <a:avLst/>
              <a:gdLst>
                <a:gd name="connsiteX0" fmla="*/ 10000 w 10000"/>
                <a:gd name="connsiteY0" fmla="*/ 563 h 5851"/>
                <a:gd name="connsiteX1" fmla="*/ 4496 w 10000"/>
                <a:gd name="connsiteY1" fmla="*/ 5851 h 5851"/>
                <a:gd name="connsiteX2" fmla="*/ 4134 w 10000"/>
                <a:gd name="connsiteY2" fmla="*/ 0 h 5851"/>
                <a:gd name="connsiteX3" fmla="*/ 0 w 10000"/>
                <a:gd name="connsiteY3" fmla="*/ 3771 h 5851"/>
                <a:gd name="connsiteX0" fmla="*/ 10000 w 10000"/>
                <a:gd name="connsiteY0" fmla="*/ 951 h 9989"/>
                <a:gd name="connsiteX1" fmla="*/ 4496 w 10000"/>
                <a:gd name="connsiteY1" fmla="*/ 9989 h 9989"/>
                <a:gd name="connsiteX2" fmla="*/ 4162 w 10000"/>
                <a:gd name="connsiteY2" fmla="*/ 0 h 9989"/>
                <a:gd name="connsiteX3" fmla="*/ 0 w 10000"/>
                <a:gd name="connsiteY3" fmla="*/ 6434 h 9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89">
                  <a:moveTo>
                    <a:pt x="10000" y="951"/>
                  </a:moveTo>
                  <a:lnTo>
                    <a:pt x="4496" y="9989"/>
                  </a:lnTo>
                  <a:cubicBezTo>
                    <a:pt x="4375" y="6656"/>
                    <a:pt x="4283" y="3333"/>
                    <a:pt x="4162" y="0"/>
                  </a:cubicBezTo>
                  <a:lnTo>
                    <a:pt x="0" y="643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3" name="Oval 19"/>
            <p:cNvSpPr>
              <a:spLocks noChangeArrowheads="1"/>
            </p:cNvSpPr>
            <p:nvPr userDrawn="1"/>
          </p:nvSpPr>
          <p:spPr bwMode="auto">
            <a:xfrm>
              <a:off x="6866734" y="3409950"/>
              <a:ext cx="133200" cy="13335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4" name="Oval 20"/>
            <p:cNvSpPr>
              <a:spLocks noChangeArrowheads="1"/>
            </p:cNvSpPr>
            <p:nvPr userDrawn="1"/>
          </p:nvSpPr>
          <p:spPr bwMode="auto">
            <a:xfrm>
              <a:off x="8075612" y="1470025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5" name="Oval 21"/>
            <p:cNvSpPr>
              <a:spLocks noChangeArrowheads="1"/>
            </p:cNvSpPr>
            <p:nvPr userDrawn="1"/>
          </p:nvSpPr>
          <p:spPr bwMode="auto">
            <a:xfrm>
              <a:off x="6656387" y="4826002"/>
              <a:ext cx="98425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6" name="Oval 22"/>
            <p:cNvSpPr>
              <a:spLocks noChangeArrowheads="1"/>
            </p:cNvSpPr>
            <p:nvPr userDrawn="1"/>
          </p:nvSpPr>
          <p:spPr bwMode="auto">
            <a:xfrm>
              <a:off x="9394034" y="2331543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7" name="Freeform 23"/>
            <p:cNvSpPr>
              <a:spLocks/>
            </p:cNvSpPr>
            <p:nvPr userDrawn="1"/>
          </p:nvSpPr>
          <p:spPr bwMode="auto">
            <a:xfrm>
              <a:off x="5338724" y="5262629"/>
              <a:ext cx="150813" cy="151200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29" y="3"/>
                </a:cxn>
                <a:cxn ang="0">
                  <a:pos x="44" y="19"/>
                </a:cxn>
                <a:cxn ang="0">
                  <a:pos x="19" y="44"/>
                </a:cxn>
                <a:cxn ang="0">
                  <a:pos x="4" y="28"/>
                </a:cxn>
              </a:cxnLst>
              <a:rect l="0" t="0" r="r" b="b"/>
              <a:pathLst>
                <a:path w="48" h="47">
                  <a:moveTo>
                    <a:pt x="4" y="28"/>
                  </a:moveTo>
                  <a:cubicBezTo>
                    <a:pt x="0" y="13"/>
                    <a:pt x="14" y="0"/>
                    <a:pt x="29" y="3"/>
                  </a:cubicBezTo>
                  <a:cubicBezTo>
                    <a:pt x="36" y="5"/>
                    <a:pt x="43" y="11"/>
                    <a:pt x="44" y="19"/>
                  </a:cubicBezTo>
                  <a:cubicBezTo>
                    <a:pt x="48" y="34"/>
                    <a:pt x="34" y="47"/>
                    <a:pt x="19" y="44"/>
                  </a:cubicBezTo>
                  <a:cubicBezTo>
                    <a:pt x="12" y="42"/>
                    <a:pt x="5" y="36"/>
                    <a:pt x="4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8" name="Freeform 24"/>
            <p:cNvSpPr>
              <a:spLocks/>
            </p:cNvSpPr>
            <p:nvPr userDrawn="1"/>
          </p:nvSpPr>
          <p:spPr bwMode="auto">
            <a:xfrm>
              <a:off x="1304925" y="2009775"/>
              <a:ext cx="112713" cy="115888"/>
            </a:xfrm>
            <a:custGeom>
              <a:avLst/>
              <a:gdLst/>
              <a:ahLst/>
              <a:cxnLst>
                <a:cxn ang="0">
                  <a:pos x="3" y="23"/>
                </a:cxn>
                <a:cxn ang="0">
                  <a:pos x="22" y="3"/>
                </a:cxn>
                <a:cxn ang="0">
                  <a:pos x="33" y="14"/>
                </a:cxn>
                <a:cxn ang="0">
                  <a:pos x="13" y="33"/>
                </a:cxn>
                <a:cxn ang="0">
                  <a:pos x="3" y="23"/>
                </a:cxn>
              </a:cxnLst>
              <a:rect l="0" t="0" r="r" b="b"/>
              <a:pathLst>
                <a:path w="36" h="37">
                  <a:moveTo>
                    <a:pt x="3" y="23"/>
                  </a:moveTo>
                  <a:cubicBezTo>
                    <a:pt x="0" y="11"/>
                    <a:pt x="10" y="0"/>
                    <a:pt x="22" y="3"/>
                  </a:cubicBezTo>
                  <a:cubicBezTo>
                    <a:pt x="27" y="5"/>
                    <a:pt x="31" y="9"/>
                    <a:pt x="33" y="14"/>
                  </a:cubicBezTo>
                  <a:cubicBezTo>
                    <a:pt x="36" y="26"/>
                    <a:pt x="25" y="37"/>
                    <a:pt x="13" y="33"/>
                  </a:cubicBezTo>
                  <a:cubicBezTo>
                    <a:pt x="8" y="32"/>
                    <a:pt x="4" y="28"/>
                    <a:pt x="3" y="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09" name="Oval 25"/>
            <p:cNvSpPr>
              <a:spLocks noChangeArrowheads="1"/>
            </p:cNvSpPr>
            <p:nvPr userDrawn="1"/>
          </p:nvSpPr>
          <p:spPr bwMode="auto">
            <a:xfrm>
              <a:off x="2622550" y="3143250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0" name="Freeform 26"/>
            <p:cNvSpPr>
              <a:spLocks/>
            </p:cNvSpPr>
            <p:nvPr userDrawn="1"/>
          </p:nvSpPr>
          <p:spPr bwMode="auto">
            <a:xfrm>
              <a:off x="928686" y="5207795"/>
              <a:ext cx="115200" cy="115200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19" y="1"/>
                </a:cxn>
                <a:cxn ang="0">
                  <a:pos x="32" y="14"/>
                </a:cxn>
                <a:cxn ang="0">
                  <a:pos x="14" y="31"/>
                </a:cxn>
                <a:cxn ang="0">
                  <a:pos x="2" y="19"/>
                </a:cxn>
              </a:cxnLst>
              <a:rect l="0" t="0" r="r" b="b"/>
              <a:pathLst>
                <a:path w="34" h="33">
                  <a:moveTo>
                    <a:pt x="2" y="19"/>
                  </a:moveTo>
                  <a:cubicBezTo>
                    <a:pt x="0" y="8"/>
                    <a:pt x="9" y="0"/>
                    <a:pt x="19" y="1"/>
                  </a:cubicBezTo>
                  <a:cubicBezTo>
                    <a:pt x="26" y="2"/>
                    <a:pt x="31" y="7"/>
                    <a:pt x="32" y="14"/>
                  </a:cubicBezTo>
                  <a:cubicBezTo>
                    <a:pt x="34" y="24"/>
                    <a:pt x="25" y="33"/>
                    <a:pt x="14" y="31"/>
                  </a:cubicBezTo>
                  <a:cubicBezTo>
                    <a:pt x="8" y="30"/>
                    <a:pt x="3" y="25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1" name="Oval 27"/>
            <p:cNvSpPr>
              <a:spLocks noChangeArrowheads="1"/>
            </p:cNvSpPr>
            <p:nvPr userDrawn="1"/>
          </p:nvSpPr>
          <p:spPr bwMode="auto">
            <a:xfrm>
              <a:off x="306387" y="4192588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2" name="Oval 28"/>
            <p:cNvSpPr>
              <a:spLocks noChangeArrowheads="1"/>
            </p:cNvSpPr>
            <p:nvPr userDrawn="1"/>
          </p:nvSpPr>
          <p:spPr bwMode="auto">
            <a:xfrm>
              <a:off x="8418190" y="3438880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3" name="Oval 29"/>
            <p:cNvSpPr>
              <a:spLocks noChangeArrowheads="1"/>
            </p:cNvSpPr>
            <p:nvPr userDrawn="1"/>
          </p:nvSpPr>
          <p:spPr bwMode="auto">
            <a:xfrm>
              <a:off x="5916612" y="3313113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4" name="Oval 30"/>
            <p:cNvSpPr>
              <a:spLocks noChangeArrowheads="1"/>
            </p:cNvSpPr>
            <p:nvPr userDrawn="1"/>
          </p:nvSpPr>
          <p:spPr bwMode="auto">
            <a:xfrm>
              <a:off x="5650757" y="4177208"/>
              <a:ext cx="97200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5" name="Oval 31"/>
            <p:cNvSpPr>
              <a:spLocks noChangeArrowheads="1"/>
            </p:cNvSpPr>
            <p:nvPr userDrawn="1"/>
          </p:nvSpPr>
          <p:spPr bwMode="auto">
            <a:xfrm>
              <a:off x="3881437" y="2411413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6" name="Oval 32"/>
            <p:cNvSpPr>
              <a:spLocks noChangeArrowheads="1"/>
            </p:cNvSpPr>
            <p:nvPr userDrawn="1"/>
          </p:nvSpPr>
          <p:spPr bwMode="auto">
            <a:xfrm>
              <a:off x="9106692" y="5260976"/>
              <a:ext cx="128588" cy="12858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7" name="Oval 33"/>
            <p:cNvSpPr>
              <a:spLocks noChangeArrowheads="1"/>
            </p:cNvSpPr>
            <p:nvPr userDrawn="1"/>
          </p:nvSpPr>
          <p:spPr bwMode="auto">
            <a:xfrm>
              <a:off x="2843211" y="4761708"/>
              <a:ext cx="68400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8" name="Line 34"/>
            <p:cNvSpPr>
              <a:spLocks noChangeShapeType="1"/>
            </p:cNvSpPr>
            <p:nvPr userDrawn="1"/>
          </p:nvSpPr>
          <p:spPr bwMode="auto">
            <a:xfrm flipV="1">
              <a:off x="976313" y="4783930"/>
              <a:ext cx="1895475" cy="4548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19" name="Line 35"/>
            <p:cNvSpPr>
              <a:spLocks noChangeShapeType="1"/>
            </p:cNvSpPr>
            <p:nvPr userDrawn="1"/>
          </p:nvSpPr>
          <p:spPr bwMode="auto">
            <a:xfrm>
              <a:off x="4835525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20" name="Line 36"/>
            <p:cNvSpPr>
              <a:spLocks noChangeShapeType="1"/>
            </p:cNvSpPr>
            <p:nvPr userDrawn="1"/>
          </p:nvSpPr>
          <p:spPr bwMode="auto">
            <a:xfrm>
              <a:off x="339248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21" name="Freeform 37"/>
            <p:cNvSpPr>
              <a:spLocks/>
            </p:cNvSpPr>
            <p:nvPr userDrawn="1"/>
          </p:nvSpPr>
          <p:spPr bwMode="auto">
            <a:xfrm>
              <a:off x="1731962" y="4784672"/>
              <a:ext cx="1660525" cy="1128766"/>
            </a:xfrm>
            <a:custGeom>
              <a:avLst/>
              <a:gdLst>
                <a:gd name="connsiteX0" fmla="*/ 0 w 10000"/>
                <a:gd name="connsiteY0" fmla="*/ 10216 h 10216"/>
                <a:gd name="connsiteX1" fmla="*/ 6874 w 10000"/>
                <a:gd name="connsiteY1" fmla="*/ 0 h 10216"/>
                <a:gd name="connsiteX2" fmla="*/ 10000 w 10000"/>
                <a:gd name="connsiteY2" fmla="*/ 10216 h 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216">
                  <a:moveTo>
                    <a:pt x="0" y="10216"/>
                  </a:moveTo>
                  <a:lnTo>
                    <a:pt x="6874" y="0"/>
                  </a:lnTo>
                  <a:lnTo>
                    <a:pt x="10000" y="10216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22" name="Line 38"/>
            <p:cNvSpPr>
              <a:spLocks noChangeShapeType="1"/>
            </p:cNvSpPr>
            <p:nvPr userDrawn="1"/>
          </p:nvSpPr>
          <p:spPr bwMode="auto">
            <a:xfrm>
              <a:off x="1731962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23" name="Line 39"/>
            <p:cNvSpPr>
              <a:spLocks noChangeShapeType="1"/>
            </p:cNvSpPr>
            <p:nvPr userDrawn="1"/>
          </p:nvSpPr>
          <p:spPr bwMode="auto">
            <a:xfrm>
              <a:off x="135413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24" name="Freeform 40"/>
            <p:cNvSpPr>
              <a:spLocks/>
            </p:cNvSpPr>
            <p:nvPr userDrawn="1"/>
          </p:nvSpPr>
          <p:spPr bwMode="auto">
            <a:xfrm>
              <a:off x="-27638" y="2057399"/>
              <a:ext cx="1385135" cy="2157416"/>
            </a:xfrm>
            <a:custGeom>
              <a:avLst/>
              <a:gdLst>
                <a:gd name="connsiteX0" fmla="*/ 114 w 10000"/>
                <a:gd name="connsiteY0" fmla="*/ 9569 h 10000"/>
                <a:gd name="connsiteX1" fmla="*/ 2650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4938 h 10000"/>
                <a:gd name="connsiteX0" fmla="*/ 114 w 10000"/>
                <a:gd name="connsiteY0" fmla="*/ 9569 h 9898"/>
                <a:gd name="connsiteX1" fmla="*/ 2622 w 10000"/>
                <a:gd name="connsiteY1" fmla="*/ 9898 h 9898"/>
                <a:gd name="connsiteX2" fmla="*/ 10000 w 10000"/>
                <a:gd name="connsiteY2" fmla="*/ 0 h 9898"/>
                <a:gd name="connsiteX3" fmla="*/ 0 w 10000"/>
                <a:gd name="connsiteY3" fmla="*/ 4938 h 9898"/>
                <a:gd name="connsiteX0" fmla="*/ 201 w 10087"/>
                <a:gd name="connsiteY0" fmla="*/ 9668 h 10000"/>
                <a:gd name="connsiteX1" fmla="*/ 2709 w 10087"/>
                <a:gd name="connsiteY1" fmla="*/ 10000 h 10000"/>
                <a:gd name="connsiteX2" fmla="*/ 10087 w 10087"/>
                <a:gd name="connsiteY2" fmla="*/ 0 h 10000"/>
                <a:gd name="connsiteX3" fmla="*/ 0 w 10087"/>
                <a:gd name="connsiteY3" fmla="*/ 4989 h 10000"/>
                <a:gd name="connsiteX0" fmla="*/ 201 w 10087"/>
                <a:gd name="connsiteY0" fmla="*/ 9668 h 9971"/>
                <a:gd name="connsiteX1" fmla="*/ 2802 w 10087"/>
                <a:gd name="connsiteY1" fmla="*/ 9971 h 9971"/>
                <a:gd name="connsiteX2" fmla="*/ 10087 w 10087"/>
                <a:gd name="connsiteY2" fmla="*/ 0 h 9971"/>
                <a:gd name="connsiteX3" fmla="*/ 0 w 10087"/>
                <a:gd name="connsiteY3" fmla="*/ 4989 h 9971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00 w 10000"/>
                <a:gd name="connsiteY1" fmla="*/ 969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0000"/>
                <a:gd name="connsiteX1" fmla="*/ 200 w 10000"/>
                <a:gd name="connsiteY1" fmla="*/ 9362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34 w 10000"/>
                <a:gd name="connsiteY1" fmla="*/ 967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233" y="9681"/>
                  </a:moveTo>
                  <a:cubicBezTo>
                    <a:pt x="239" y="9681"/>
                    <a:pt x="228" y="9675"/>
                    <a:pt x="234" y="9675"/>
                  </a:cubicBezTo>
                  <a:lnTo>
                    <a:pt x="2778" y="10000"/>
                  </a:lnTo>
                  <a:lnTo>
                    <a:pt x="10000" y="0"/>
                  </a:lnTo>
                  <a:lnTo>
                    <a:pt x="0" y="500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25" name="Freeform 41"/>
            <p:cNvSpPr>
              <a:spLocks/>
            </p:cNvSpPr>
            <p:nvPr userDrawn="1"/>
          </p:nvSpPr>
          <p:spPr bwMode="auto">
            <a:xfrm>
              <a:off x="-11113" y="4022726"/>
              <a:ext cx="5720328" cy="1232220"/>
            </a:xfrm>
            <a:custGeom>
              <a:avLst/>
              <a:gdLst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63 w 10000"/>
                <a:gd name="connsiteY3" fmla="*/ 6298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32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200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0 w 10000"/>
                <a:gd name="connsiteY3" fmla="*/ 628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080 w 10040"/>
                <a:gd name="connsiteY3" fmla="*/ 6285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101 w 10040"/>
                <a:gd name="connsiteY3" fmla="*/ 6198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9914"/>
                <a:gd name="connsiteX1" fmla="*/ 1746 w 10040"/>
                <a:gd name="connsiteY1" fmla="*/ 9914 h 9914"/>
                <a:gd name="connsiteX2" fmla="*/ 635 w 10040"/>
                <a:gd name="connsiteY2" fmla="*/ 1743 h 9914"/>
                <a:gd name="connsiteX3" fmla="*/ 5101 w 10040"/>
                <a:gd name="connsiteY3" fmla="*/ 6198 h 9914"/>
                <a:gd name="connsiteX4" fmla="*/ 10040 w 10040"/>
                <a:gd name="connsiteY4" fmla="*/ 1627 h 9914"/>
                <a:gd name="connsiteX5" fmla="*/ 0 w 10040"/>
                <a:gd name="connsiteY5" fmla="*/ 0 h 9914"/>
                <a:gd name="connsiteX0" fmla="*/ 0 w 10000"/>
                <a:gd name="connsiteY0" fmla="*/ 4954 h 9961"/>
                <a:gd name="connsiteX1" fmla="*/ 1744 w 10000"/>
                <a:gd name="connsiteY1" fmla="*/ 9961 h 9961"/>
                <a:gd name="connsiteX2" fmla="*/ 632 w 10000"/>
                <a:gd name="connsiteY2" fmla="*/ 1758 h 9961"/>
                <a:gd name="connsiteX3" fmla="*/ 5081 w 10000"/>
                <a:gd name="connsiteY3" fmla="*/ 6252 h 9961"/>
                <a:gd name="connsiteX4" fmla="*/ 10000 w 10000"/>
                <a:gd name="connsiteY4" fmla="*/ 1641 h 9961"/>
                <a:gd name="connsiteX5" fmla="*/ 0 w 10000"/>
                <a:gd name="connsiteY5" fmla="*/ 0 h 9961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5081 w 10000"/>
                <a:gd name="connsiteY3" fmla="*/ 6276 h 10000"/>
                <a:gd name="connsiteX4" fmla="*/ 10000 w 10000"/>
                <a:gd name="connsiteY4" fmla="*/ 1647 h 10000"/>
                <a:gd name="connsiteX5" fmla="*/ 0 w 10000"/>
                <a:gd name="connsiteY5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636 w 10000"/>
                <a:gd name="connsiteY3" fmla="*/ 3948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47 w 10000"/>
                <a:gd name="connsiteY3" fmla="*/ 3840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0">
                  <a:moveTo>
                    <a:pt x="0" y="4973"/>
                  </a:moveTo>
                  <a:lnTo>
                    <a:pt x="1744" y="10000"/>
                  </a:lnTo>
                  <a:lnTo>
                    <a:pt x="646" y="1733"/>
                  </a:lnTo>
                  <a:cubicBezTo>
                    <a:pt x="1196" y="2303"/>
                    <a:pt x="1785" y="2965"/>
                    <a:pt x="2564" y="3859"/>
                  </a:cubicBezTo>
                  <a:cubicBezTo>
                    <a:pt x="2715" y="4015"/>
                    <a:pt x="3904" y="5054"/>
                    <a:pt x="5081" y="6276"/>
                  </a:cubicBezTo>
                  <a:lnTo>
                    <a:pt x="10000" y="164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26" name="Freeform 42"/>
            <p:cNvSpPr>
              <a:spLocks/>
            </p:cNvSpPr>
            <p:nvPr userDrawn="1"/>
          </p:nvSpPr>
          <p:spPr bwMode="auto">
            <a:xfrm>
              <a:off x="-11113" y="4230362"/>
              <a:ext cx="5701526" cy="1683076"/>
            </a:xfrm>
            <a:custGeom>
              <a:avLst/>
              <a:gdLst>
                <a:gd name="connsiteX0" fmla="*/ 8507 w 10007"/>
                <a:gd name="connsiteY0" fmla="*/ 10078 h 10078"/>
                <a:gd name="connsiteX1" fmla="*/ 9615 w 10007"/>
                <a:gd name="connsiteY1" fmla="*/ 7483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40 w 10007"/>
                <a:gd name="connsiteY3" fmla="*/ 97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21 w 10007"/>
                <a:gd name="connsiteY3" fmla="*/ 102 h 10078"/>
                <a:gd name="connsiteX4" fmla="*/ 0 w 10007"/>
                <a:gd name="connsiteY4" fmla="*/ 2987 h 1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7" h="10078">
                  <a:moveTo>
                    <a:pt x="8507" y="10078"/>
                  </a:moveTo>
                  <a:lnTo>
                    <a:pt x="9508" y="6557"/>
                  </a:lnTo>
                  <a:cubicBezTo>
                    <a:pt x="9675" y="4353"/>
                    <a:pt x="9837" y="2363"/>
                    <a:pt x="10007" y="0"/>
                  </a:cubicBezTo>
                  <a:lnTo>
                    <a:pt x="621" y="102"/>
                  </a:lnTo>
                  <a:lnTo>
                    <a:pt x="0" y="298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118827" name="Freeform 43"/>
            <p:cNvSpPr>
              <a:spLocks/>
            </p:cNvSpPr>
            <p:nvPr userDrawn="1"/>
          </p:nvSpPr>
          <p:spPr bwMode="auto">
            <a:xfrm>
              <a:off x="-54" y="5157238"/>
              <a:ext cx="1354191" cy="756200"/>
            </a:xfrm>
            <a:custGeom>
              <a:avLst/>
              <a:gdLst>
                <a:gd name="connsiteX0" fmla="*/ 0 w 10000"/>
                <a:gd name="connsiteY0" fmla="*/ 0 h 10000"/>
                <a:gd name="connsiteX1" fmla="*/ 7132 w 10000"/>
                <a:gd name="connsiteY1" fmla="*/ 935 h 10000"/>
                <a:gd name="connsiteX2" fmla="*/ 10000 w 10000"/>
                <a:gd name="connsiteY2" fmla="*/ 10000 h 10000"/>
                <a:gd name="connsiteX0" fmla="*/ 0 w 9919"/>
                <a:gd name="connsiteY0" fmla="*/ 0 h 10244"/>
                <a:gd name="connsiteX1" fmla="*/ 7051 w 9919"/>
                <a:gd name="connsiteY1" fmla="*/ 1179 h 10244"/>
                <a:gd name="connsiteX2" fmla="*/ 9919 w 9919"/>
                <a:gd name="connsiteY2" fmla="*/ 10244 h 10244"/>
                <a:gd name="connsiteX0" fmla="*/ 0 w 10000"/>
                <a:gd name="connsiteY0" fmla="*/ 0 h 10000"/>
                <a:gd name="connsiteX1" fmla="*/ 7109 w 10000"/>
                <a:gd name="connsiteY1" fmla="*/ 1151 h 10000"/>
                <a:gd name="connsiteX2" fmla="*/ 10000 w 10000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7109" y="1151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  <p:sp>
          <p:nvSpPr>
            <p:cNvPr id="204" name="Oval 19"/>
            <p:cNvSpPr>
              <a:spLocks noChangeAspect="1" noChangeArrowheads="1"/>
            </p:cNvSpPr>
            <p:nvPr userDrawn="1"/>
          </p:nvSpPr>
          <p:spPr bwMode="auto">
            <a:xfrm>
              <a:off x="7706047" y="3313553"/>
              <a:ext cx="72000" cy="72081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/>
            </a:p>
          </p:txBody>
        </p:sp>
      </p:grpSp>
      <p:sp>
        <p:nvSpPr>
          <p:cNvPr id="18" name="Rectangle 17"/>
          <p:cNvSpPr/>
          <p:nvPr userDrawn="1"/>
        </p:nvSpPr>
        <p:spPr>
          <a:xfrm>
            <a:off x="7113301" y="454410"/>
            <a:ext cx="2792700" cy="40481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25" tIns="0" rIns="292500" bIns="0" rtlCol="0" anchor="ctr"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r>
              <a:rPr lang="en-US" sz="1138" b="0" i="0" kern="1200" noProof="0" dirty="0">
                <a:solidFill>
                  <a:schemeClr val="tx1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  <a:latin typeface="+mj-lt"/>
                <a:ea typeface="+mn-ea"/>
                <a:cs typeface="+mn-cs"/>
              </a:rPr>
              <a:t>Leader in Digital Transformation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4488" y="4071521"/>
            <a:ext cx="6696000" cy="252752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lIns="90000" tIns="36000" rIns="90000" bIns="36000">
            <a:spAutoFit/>
          </a:bodyPr>
          <a:lstStyle>
            <a:lvl1pPr marL="0" indent="0" algn="l">
              <a:spcAft>
                <a:spcPts val="0"/>
              </a:spcAft>
              <a:buNone/>
              <a:defRPr lang="fr-FR" sz="1300" b="0" i="0" kern="1200" noProof="0" dirty="0" smtClean="0">
                <a:solidFill>
                  <a:schemeClr val="tx1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  <a:latin typeface="+mj-lt"/>
                <a:ea typeface="+mn-ea"/>
                <a:cs typeface="+mn-cs"/>
              </a:defRPr>
            </a:lvl1pPr>
            <a:lvl2pPr marL="371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>
          <a:xfrm>
            <a:off x="344488" y="3387556"/>
            <a:ext cx="6696000" cy="545516"/>
          </a:xfrm>
          <a:solidFill>
            <a:schemeClr val="bg1">
              <a:alpha val="80000"/>
            </a:schemeClr>
          </a:solidFill>
        </p:spPr>
        <p:txBody>
          <a:bodyPr wrap="square" tIns="72000" bIns="72000" anchor="b" anchorCtr="0">
            <a:spAutoFit/>
          </a:bodyPr>
          <a:lstStyle>
            <a:lvl1pPr>
              <a:defRPr sz="2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45006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37371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8298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77318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938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490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43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7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  <p:transition spd="med">
    <p:wip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51279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52652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07917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36951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4457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0734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4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2481" y="1556793"/>
            <a:ext cx="9361793" cy="4643751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1651000" y="908720"/>
            <a:ext cx="8255002" cy="0"/>
          </a:xfrm>
          <a:prstGeom prst="line">
            <a:avLst/>
          </a:prstGeom>
          <a:ln w="19050" cmpd="sng">
            <a:solidFill>
              <a:schemeClr val="accent4"/>
            </a:solidFill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62372" y="105868"/>
            <a:ext cx="7420931" cy="668167"/>
          </a:xfrm>
          <a:prstGeom prst="rect">
            <a:avLst/>
          </a:prstGeom>
        </p:spPr>
        <p:txBody>
          <a:bodyPr vert="horz" lIns="91440" tIns="33059" rIns="165294" bIns="33059" rtlCol="0" anchor="ctr">
            <a:noAutofit/>
          </a:bodyPr>
          <a:lstStyle/>
          <a:p>
            <a:r>
              <a:rPr lang="fr-FR" noProof="0" dirty="0" err="1"/>
              <a:t>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3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54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3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2486" y="1556798"/>
            <a:ext cx="9361793" cy="4643751"/>
          </a:xfrm>
          <a:prstGeom prst="rect">
            <a:avLst/>
          </a:prstGeom>
        </p:spPr>
        <p:txBody>
          <a:bodyPr lIns="95688" tIns="47846" rIns="95688" bIns="47846"/>
          <a:lstStyle>
            <a:lvl1pPr>
              <a:defRPr b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1651000" y="908720"/>
            <a:ext cx="8255002" cy="0"/>
          </a:xfrm>
          <a:prstGeom prst="line">
            <a:avLst/>
          </a:prstGeom>
          <a:ln w="19050" cmpd="sng">
            <a:solidFill>
              <a:schemeClr val="accent4"/>
            </a:solidFill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6463" y="105870"/>
            <a:ext cx="7726680" cy="668167"/>
          </a:xfrm>
          <a:prstGeom prst="rect">
            <a:avLst/>
          </a:prstGeom>
        </p:spPr>
        <p:txBody>
          <a:bodyPr vert="horz" lIns="95688" tIns="34596" rIns="172976" bIns="34596" rtlCol="0" anchor="ctr">
            <a:noAutofit/>
          </a:bodyPr>
          <a:lstStyle>
            <a:lvl1pPr>
              <a:defRPr sz="2300" b="1"/>
            </a:lvl1pPr>
          </a:lstStyle>
          <a:p>
            <a:r>
              <a:rPr lang="fr-FR" noProof="0" dirty="0" err="1"/>
              <a:t>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5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8455" y="105870"/>
            <a:ext cx="7644849" cy="668167"/>
          </a:xfrm>
          <a:prstGeom prst="rect">
            <a:avLst/>
          </a:prstGeom>
        </p:spPr>
        <p:txBody>
          <a:bodyPr vert="horz" lIns="95688" tIns="34596" rIns="172976" bIns="34596" rtlCol="0" anchor="ctr">
            <a:noAutofit/>
          </a:bodyPr>
          <a:lstStyle/>
          <a:p>
            <a:r>
              <a:rPr lang="fr-FR" noProof="0" dirty="0" err="1"/>
              <a:t>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855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7 Capgemini. All rights reserved. Rightshore</a:t>
            </a:r>
            <a:r>
              <a:rPr lang="en-US" sz="600" b="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</a:t>
            </a:r>
            <a:r>
              <a:rPr lang="en-US" sz="600" b="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Image 8" descr="Locations_Map_2013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6989" y="3467594"/>
            <a:ext cx="3896499" cy="1872735"/>
          </a:xfrm>
          <a:prstGeom prst="rect">
            <a:avLst/>
          </a:prstGeom>
        </p:spPr>
      </p:pic>
      <p:sp>
        <p:nvSpPr>
          <p:cNvPr id="11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418412" cy="2669474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90,000 people, Capgemini is present in over 40 countries and celebrates its 50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nniversary year in 2017.  A global leader in consulting, technology and outsourcing services, the Group reported 2016 revenues of EUR 12.5 billion. </a:t>
            </a:r>
          </a:p>
          <a:p>
            <a:pPr marL="0" indent="0" algn="just"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, technology and digital solutions that fit their needs, enabling them to achieve innovation and competitiveness. A deeply multicultural organization, Capgemini has developed its own way of working, the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9"/>
              </a:rPr>
              <a:t>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9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10"/>
              </a:rPr>
              <a:t>Rightshor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10"/>
              </a:rPr>
              <a:t>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</a:p>
          <a:p>
            <a:pPr marL="0" indent="0" algn="just">
              <a:spcAft>
                <a:spcPts val="200"/>
              </a:spcAft>
            </a:pP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u="sng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11"/>
              </a:rPr>
              <a:t>www.capgemini.co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0" indent="0" algn="just">
              <a:spcAft>
                <a:spcPts val="0"/>
              </a:spcAft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0" indent="0" algn="just">
              <a:spcAft>
                <a:spcPts val="200"/>
              </a:spcAft>
            </a:pPr>
            <a:r>
              <a:rPr lang="en-US" sz="10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</a:p>
        </p:txBody>
      </p:sp>
      <p:pic>
        <p:nvPicPr>
          <p:cNvPr id="12" name="Image 7" descr="ppt_Label_CBE.pn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2006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57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7 Capgemini. All rights reserved. Rightshore</a:t>
            </a:r>
            <a:r>
              <a:rPr lang="en-US" sz="600" b="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</a:t>
            </a:r>
            <a:r>
              <a:rPr lang="en-US" sz="600" b="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357452" cy="2669474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90,000 people, Capgemini is present in over 40 countries and celebrates its 50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nniversary year in 2017.  A global leader in consulting, technology and outsourcing services, the Group reported 2016 revenues of EUR 12.5 billion. </a:t>
            </a:r>
          </a:p>
          <a:p>
            <a:pPr marL="0" indent="0" algn="just"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, technology and digital solutions that fit their needs, enabling them to achieve innovation and competitiveness. A deeply multicultural organization, Capgemini has developed its own way of working, the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8"/>
              </a:rPr>
              <a:t>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8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9"/>
              </a:rPr>
              <a:t>Rightshor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9"/>
              </a:rPr>
              <a:t>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</a:p>
          <a:p>
            <a:pPr marL="0" indent="0" algn="just">
              <a:spcAft>
                <a:spcPts val="200"/>
              </a:spcAft>
            </a:pP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u="sng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10"/>
              </a:rPr>
              <a:t>www.capgemini.co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0" indent="0" algn="just">
              <a:spcAft>
                <a:spcPts val="0"/>
              </a:spcAft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0" indent="0" algn="just">
              <a:spcAft>
                <a:spcPts val="200"/>
              </a:spcAft>
            </a:pPr>
            <a:r>
              <a:rPr lang="en-US" sz="10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</a:p>
        </p:txBody>
      </p:sp>
      <p:pic>
        <p:nvPicPr>
          <p:cNvPr id="13" name="Image 7" descr="ppt_Label_CBE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441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68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816225"/>
            <a:ext cx="9906000" cy="404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6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7 Capgemini. All rights reserved.</a:t>
            </a:r>
            <a:r>
              <a:rPr lang="en-US" sz="600" b="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600" b="0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683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6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2790" y="3698348"/>
            <a:ext cx="4541230" cy="290793"/>
          </a:xfrm>
        </p:spPr>
        <p:txBody>
          <a:bodyPr lIns="0" tIns="33059" rIns="33059" bIns="33059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Calibri"/>
                <a:sym typeface="Calibri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21" name="Titre 20"/>
          <p:cNvSpPr>
            <a:spLocks noGrp="1"/>
          </p:cNvSpPr>
          <p:nvPr>
            <p:ph type="title"/>
          </p:nvPr>
        </p:nvSpPr>
        <p:spPr>
          <a:xfrm>
            <a:off x="712790" y="2828929"/>
            <a:ext cx="5250267" cy="822959"/>
          </a:xfrm>
        </p:spPr>
        <p:txBody>
          <a:bodyPr lIns="0" rIns="180000" anchor="t"/>
          <a:lstStyle>
            <a:lvl1pPr>
              <a:defRPr/>
            </a:lvl1pPr>
          </a:lstStyle>
          <a:p>
            <a:r>
              <a:rPr lang="fr-FR" dirty="0"/>
              <a:t>Cliquez pour modifier le style du titr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4" y="700323"/>
            <a:ext cx="4342189" cy="553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6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5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7594602" y="649129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BE6133-895E-4BE2-A83C-15246EE6B8AC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6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327026" y="1282703"/>
            <a:ext cx="9223377" cy="60007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27027" y="1882775"/>
            <a:ext cx="9256713" cy="4351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Text style level 2</a:t>
            </a:r>
          </a:p>
          <a:p>
            <a:pPr lvl="2"/>
            <a:r>
              <a:rPr lang="en-US" dirty="0"/>
              <a:t>Text style level 3</a:t>
            </a:r>
          </a:p>
          <a:p>
            <a:pPr lvl="3"/>
            <a:r>
              <a:rPr lang="en-US" dirty="0"/>
              <a:t>Text style level 4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7594602" y="649129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BE6133-895E-4BE2-A83C-15246EE6B8AC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7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7594602" y="649129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BE6133-895E-4BE2-A83C-15246EE6B8AC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67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000"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7594602" y="649129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BE6133-895E-4BE2-A83C-15246EE6B8AC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5" y="6526091"/>
            <a:ext cx="2146978" cy="273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14"/>
          <p:cNvSpPr txBox="1"/>
          <p:nvPr userDrawn="1"/>
        </p:nvSpPr>
        <p:spPr bwMode="auto">
          <a:xfrm>
            <a:off x="6465210" y="6582599"/>
            <a:ext cx="2999539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 noProof="0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opyright © 2017 Capgemini Consulting. All rights reserved.</a:t>
            </a:r>
          </a:p>
        </p:txBody>
      </p:sp>
      <p:pic>
        <p:nvPicPr>
          <p:cNvPr id="876547" name="Picture 3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130" y="6287759"/>
            <a:ext cx="496445" cy="57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2" y="328774"/>
            <a:ext cx="9906000" cy="652922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/>
            <a:endParaRPr lang="en-GB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77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722813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1" y="-9"/>
            <a:ext cx="9974664" cy="1379547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  <a:gd name="connsiteX0" fmla="*/ 10000 w 11585"/>
              <a:gd name="connsiteY0" fmla="*/ 0 h 15985"/>
              <a:gd name="connsiteX1" fmla="*/ 0 w 11585"/>
              <a:gd name="connsiteY1" fmla="*/ 0 h 15985"/>
              <a:gd name="connsiteX2" fmla="*/ 0 w 11585"/>
              <a:gd name="connsiteY2" fmla="*/ 11448 h 15985"/>
              <a:gd name="connsiteX3" fmla="*/ 484 w 11585"/>
              <a:gd name="connsiteY3" fmla="*/ 15985 h 15985"/>
              <a:gd name="connsiteX4" fmla="*/ 972 w 11585"/>
              <a:gd name="connsiteY4" fmla="*/ 11448 h 15985"/>
              <a:gd name="connsiteX5" fmla="*/ 9509 w 11585"/>
              <a:gd name="connsiteY5" fmla="*/ 11448 h 15985"/>
              <a:gd name="connsiteX6" fmla="*/ 10000 w 11585"/>
              <a:gd name="connsiteY6" fmla="*/ 0 h 15985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0 h 15985"/>
              <a:gd name="connsiteX0" fmla="*/ 9316 w 9673"/>
              <a:gd name="connsiteY0" fmla="*/ 0 h 15985"/>
              <a:gd name="connsiteX1" fmla="*/ 0 w 9673"/>
              <a:gd name="connsiteY1" fmla="*/ 0 h 15985"/>
              <a:gd name="connsiteX2" fmla="*/ 0 w 9673"/>
              <a:gd name="connsiteY2" fmla="*/ 11448 h 15985"/>
              <a:gd name="connsiteX3" fmla="*/ 484 w 9673"/>
              <a:gd name="connsiteY3" fmla="*/ 15985 h 15985"/>
              <a:gd name="connsiteX4" fmla="*/ 972 w 9673"/>
              <a:gd name="connsiteY4" fmla="*/ 11448 h 15985"/>
              <a:gd name="connsiteX5" fmla="*/ 9509 w 9673"/>
              <a:gd name="connsiteY5" fmla="*/ 11448 h 15985"/>
              <a:gd name="connsiteX6" fmla="*/ 9316 w 9673"/>
              <a:gd name="connsiteY6" fmla="*/ 0 h 15985"/>
              <a:gd name="connsiteX0" fmla="*/ 9631 w 9830"/>
              <a:gd name="connsiteY0" fmla="*/ 0 h 10000"/>
              <a:gd name="connsiteX1" fmla="*/ 0 w 9830"/>
              <a:gd name="connsiteY1" fmla="*/ 0 h 10000"/>
              <a:gd name="connsiteX2" fmla="*/ 0 w 9830"/>
              <a:gd name="connsiteY2" fmla="*/ 7162 h 10000"/>
              <a:gd name="connsiteX3" fmla="*/ 500 w 9830"/>
              <a:gd name="connsiteY3" fmla="*/ 10000 h 10000"/>
              <a:gd name="connsiteX4" fmla="*/ 1005 w 9830"/>
              <a:gd name="connsiteY4" fmla="*/ 7162 h 10000"/>
              <a:gd name="connsiteX5" fmla="*/ 9830 w 9830"/>
              <a:gd name="connsiteY5" fmla="*/ 7162 h 10000"/>
              <a:gd name="connsiteX6" fmla="*/ 9631 w 9830"/>
              <a:gd name="connsiteY6" fmla="*/ 0 h 10000"/>
              <a:gd name="connsiteX0" fmla="*/ 9798 w 9865"/>
              <a:gd name="connsiteY0" fmla="*/ 0 h 10000"/>
              <a:gd name="connsiteX1" fmla="*/ 0 w 9865"/>
              <a:gd name="connsiteY1" fmla="*/ 0 h 10000"/>
              <a:gd name="connsiteX2" fmla="*/ 0 w 9865"/>
              <a:gd name="connsiteY2" fmla="*/ 7162 h 10000"/>
              <a:gd name="connsiteX3" fmla="*/ 509 w 9865"/>
              <a:gd name="connsiteY3" fmla="*/ 10000 h 10000"/>
              <a:gd name="connsiteX4" fmla="*/ 1022 w 9865"/>
              <a:gd name="connsiteY4" fmla="*/ 7162 h 10000"/>
              <a:gd name="connsiteX5" fmla="*/ 9797 w 9865"/>
              <a:gd name="connsiteY5" fmla="*/ 7311 h 10000"/>
              <a:gd name="connsiteX6" fmla="*/ 9798 w 9865"/>
              <a:gd name="connsiteY6" fmla="*/ 0 h 10000"/>
              <a:gd name="connsiteX0" fmla="*/ 9932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7162 h 10000"/>
              <a:gd name="connsiteX3" fmla="*/ 516 w 10000"/>
              <a:gd name="connsiteY3" fmla="*/ 10000 h 10000"/>
              <a:gd name="connsiteX4" fmla="*/ 1036 w 10000"/>
              <a:gd name="connsiteY4" fmla="*/ 7162 h 10000"/>
              <a:gd name="connsiteX5" fmla="*/ 9931 w 10000"/>
              <a:gd name="connsiteY5" fmla="*/ 7311 h 10000"/>
              <a:gd name="connsiteX6" fmla="*/ 9932 w 10000"/>
              <a:gd name="connsiteY6" fmla="*/ 0 h 10000"/>
              <a:gd name="connsiteX0" fmla="*/ 9932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7162 h 10000"/>
              <a:gd name="connsiteX3" fmla="*/ 516 w 10000"/>
              <a:gd name="connsiteY3" fmla="*/ 10000 h 10000"/>
              <a:gd name="connsiteX4" fmla="*/ 1036 w 10000"/>
              <a:gd name="connsiteY4" fmla="*/ 7162 h 10000"/>
              <a:gd name="connsiteX5" fmla="*/ 9931 w 10000"/>
              <a:gd name="connsiteY5" fmla="*/ 7311 h 10000"/>
              <a:gd name="connsiteX6" fmla="*/ 9932 w 10000"/>
              <a:gd name="connsiteY6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9932" y="0"/>
                </a:moveTo>
                <a:lnTo>
                  <a:pt x="0" y="0"/>
                </a:lnTo>
                <a:lnTo>
                  <a:pt x="0" y="7162"/>
                </a:lnTo>
                <a:cubicBezTo>
                  <a:pt x="408" y="7162"/>
                  <a:pt x="516" y="10000"/>
                  <a:pt x="516" y="10000"/>
                </a:cubicBezTo>
                <a:cubicBezTo>
                  <a:pt x="516" y="10000"/>
                  <a:pt x="625" y="7162"/>
                  <a:pt x="1036" y="7162"/>
                </a:cubicBezTo>
                <a:lnTo>
                  <a:pt x="9931" y="7311"/>
                </a:lnTo>
                <a:cubicBezTo>
                  <a:pt x="9921" y="3456"/>
                  <a:pt x="10000" y="2387"/>
                  <a:pt x="9932" y="0"/>
                </a:cubicBezTo>
                <a:close/>
              </a:path>
            </a:pathLst>
          </a:cu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custGeom>
            <a:avLst/>
            <a:gdLst>
              <a:gd name="connsiteX0" fmla="*/ 0 w 9905999"/>
              <a:gd name="connsiteY0" fmla="*/ 0 h 728700"/>
              <a:gd name="connsiteX1" fmla="*/ 9905999 w 9905999"/>
              <a:gd name="connsiteY1" fmla="*/ 0 h 728700"/>
              <a:gd name="connsiteX2" fmla="*/ 9905999 w 9905999"/>
              <a:gd name="connsiteY2" fmla="*/ 728700 h 728700"/>
              <a:gd name="connsiteX3" fmla="*/ 0 w 9905999"/>
              <a:gd name="connsiteY3" fmla="*/ 728700 h 728700"/>
              <a:gd name="connsiteX4" fmla="*/ 0 w 9905999"/>
              <a:gd name="connsiteY4" fmla="*/ 0 h 728700"/>
              <a:gd name="connsiteX0" fmla="*/ 0 w 11556999"/>
              <a:gd name="connsiteY0" fmla="*/ 121450 h 850150"/>
              <a:gd name="connsiteX1" fmla="*/ 9905999 w 11556999"/>
              <a:gd name="connsiteY1" fmla="*/ 121450 h 850150"/>
              <a:gd name="connsiteX2" fmla="*/ 9905999 w 11556999"/>
              <a:gd name="connsiteY2" fmla="*/ 850150 h 850150"/>
              <a:gd name="connsiteX3" fmla="*/ 0 w 11556999"/>
              <a:gd name="connsiteY3" fmla="*/ 850150 h 850150"/>
              <a:gd name="connsiteX4" fmla="*/ 0 w 11556999"/>
              <a:gd name="connsiteY4" fmla="*/ 121450 h 850150"/>
              <a:gd name="connsiteX0" fmla="*/ 0 w 9905999"/>
              <a:gd name="connsiteY0" fmla="*/ 121450 h 850150"/>
              <a:gd name="connsiteX1" fmla="*/ 9905999 w 9905999"/>
              <a:gd name="connsiteY1" fmla="*/ 121450 h 850150"/>
              <a:gd name="connsiteX2" fmla="*/ 9905999 w 9905999"/>
              <a:gd name="connsiteY2" fmla="*/ 850150 h 850150"/>
              <a:gd name="connsiteX3" fmla="*/ 0 w 9905999"/>
              <a:gd name="connsiteY3" fmla="*/ 850150 h 850150"/>
              <a:gd name="connsiteX4" fmla="*/ 0 w 9905999"/>
              <a:gd name="connsiteY4" fmla="*/ 121450 h 850150"/>
              <a:gd name="connsiteX0" fmla="*/ 0 w 9905999"/>
              <a:gd name="connsiteY0" fmla="*/ 0 h 728700"/>
              <a:gd name="connsiteX1" fmla="*/ 9905999 w 9905999"/>
              <a:gd name="connsiteY1" fmla="*/ 0 h 728700"/>
              <a:gd name="connsiteX2" fmla="*/ 9905999 w 9905999"/>
              <a:gd name="connsiteY2" fmla="*/ 728700 h 728700"/>
              <a:gd name="connsiteX3" fmla="*/ 0 w 9905999"/>
              <a:gd name="connsiteY3" fmla="*/ 728700 h 728700"/>
              <a:gd name="connsiteX4" fmla="*/ 0 w 9905999"/>
              <a:gd name="connsiteY4" fmla="*/ 0 h 7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728700">
                <a:moveTo>
                  <a:pt x="0" y="0"/>
                </a:moveTo>
                <a:lnTo>
                  <a:pt x="9905999" y="0"/>
                </a:lnTo>
                <a:lnTo>
                  <a:pt x="9905999" y="728700"/>
                </a:lnTo>
                <a:lnTo>
                  <a:pt x="0" y="728700"/>
                </a:lnTo>
                <a:lnTo>
                  <a:pt x="0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vert="horz" lIns="297529" tIns="33059" rIns="165294" bIns="33059" rtlCol="0" anchor="ctr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2" y="328774"/>
            <a:ext cx="9906000" cy="652922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/>
            <a:endParaRPr lang="en-GB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7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722813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1" y="-9"/>
            <a:ext cx="9974664" cy="1379547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  <a:gd name="connsiteX0" fmla="*/ 10000 w 11585"/>
              <a:gd name="connsiteY0" fmla="*/ 0 h 15985"/>
              <a:gd name="connsiteX1" fmla="*/ 0 w 11585"/>
              <a:gd name="connsiteY1" fmla="*/ 0 h 15985"/>
              <a:gd name="connsiteX2" fmla="*/ 0 w 11585"/>
              <a:gd name="connsiteY2" fmla="*/ 11448 h 15985"/>
              <a:gd name="connsiteX3" fmla="*/ 484 w 11585"/>
              <a:gd name="connsiteY3" fmla="*/ 15985 h 15985"/>
              <a:gd name="connsiteX4" fmla="*/ 972 w 11585"/>
              <a:gd name="connsiteY4" fmla="*/ 11448 h 15985"/>
              <a:gd name="connsiteX5" fmla="*/ 9509 w 11585"/>
              <a:gd name="connsiteY5" fmla="*/ 11448 h 15985"/>
              <a:gd name="connsiteX6" fmla="*/ 10000 w 11585"/>
              <a:gd name="connsiteY6" fmla="*/ 0 h 15985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0 h 15985"/>
              <a:gd name="connsiteX0" fmla="*/ 9316 w 9673"/>
              <a:gd name="connsiteY0" fmla="*/ 0 h 15985"/>
              <a:gd name="connsiteX1" fmla="*/ 0 w 9673"/>
              <a:gd name="connsiteY1" fmla="*/ 0 h 15985"/>
              <a:gd name="connsiteX2" fmla="*/ 0 w 9673"/>
              <a:gd name="connsiteY2" fmla="*/ 11448 h 15985"/>
              <a:gd name="connsiteX3" fmla="*/ 484 w 9673"/>
              <a:gd name="connsiteY3" fmla="*/ 15985 h 15985"/>
              <a:gd name="connsiteX4" fmla="*/ 972 w 9673"/>
              <a:gd name="connsiteY4" fmla="*/ 11448 h 15985"/>
              <a:gd name="connsiteX5" fmla="*/ 9509 w 9673"/>
              <a:gd name="connsiteY5" fmla="*/ 11448 h 15985"/>
              <a:gd name="connsiteX6" fmla="*/ 9316 w 9673"/>
              <a:gd name="connsiteY6" fmla="*/ 0 h 15985"/>
              <a:gd name="connsiteX0" fmla="*/ 9631 w 9830"/>
              <a:gd name="connsiteY0" fmla="*/ 0 h 10000"/>
              <a:gd name="connsiteX1" fmla="*/ 0 w 9830"/>
              <a:gd name="connsiteY1" fmla="*/ 0 h 10000"/>
              <a:gd name="connsiteX2" fmla="*/ 0 w 9830"/>
              <a:gd name="connsiteY2" fmla="*/ 7162 h 10000"/>
              <a:gd name="connsiteX3" fmla="*/ 500 w 9830"/>
              <a:gd name="connsiteY3" fmla="*/ 10000 h 10000"/>
              <a:gd name="connsiteX4" fmla="*/ 1005 w 9830"/>
              <a:gd name="connsiteY4" fmla="*/ 7162 h 10000"/>
              <a:gd name="connsiteX5" fmla="*/ 9830 w 9830"/>
              <a:gd name="connsiteY5" fmla="*/ 7162 h 10000"/>
              <a:gd name="connsiteX6" fmla="*/ 9631 w 9830"/>
              <a:gd name="connsiteY6" fmla="*/ 0 h 10000"/>
              <a:gd name="connsiteX0" fmla="*/ 9798 w 9865"/>
              <a:gd name="connsiteY0" fmla="*/ 0 h 10000"/>
              <a:gd name="connsiteX1" fmla="*/ 0 w 9865"/>
              <a:gd name="connsiteY1" fmla="*/ 0 h 10000"/>
              <a:gd name="connsiteX2" fmla="*/ 0 w 9865"/>
              <a:gd name="connsiteY2" fmla="*/ 7162 h 10000"/>
              <a:gd name="connsiteX3" fmla="*/ 509 w 9865"/>
              <a:gd name="connsiteY3" fmla="*/ 10000 h 10000"/>
              <a:gd name="connsiteX4" fmla="*/ 1022 w 9865"/>
              <a:gd name="connsiteY4" fmla="*/ 7162 h 10000"/>
              <a:gd name="connsiteX5" fmla="*/ 9797 w 9865"/>
              <a:gd name="connsiteY5" fmla="*/ 7311 h 10000"/>
              <a:gd name="connsiteX6" fmla="*/ 9798 w 9865"/>
              <a:gd name="connsiteY6" fmla="*/ 0 h 10000"/>
              <a:gd name="connsiteX0" fmla="*/ 9932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7162 h 10000"/>
              <a:gd name="connsiteX3" fmla="*/ 516 w 10000"/>
              <a:gd name="connsiteY3" fmla="*/ 10000 h 10000"/>
              <a:gd name="connsiteX4" fmla="*/ 1036 w 10000"/>
              <a:gd name="connsiteY4" fmla="*/ 7162 h 10000"/>
              <a:gd name="connsiteX5" fmla="*/ 9931 w 10000"/>
              <a:gd name="connsiteY5" fmla="*/ 7311 h 10000"/>
              <a:gd name="connsiteX6" fmla="*/ 9932 w 10000"/>
              <a:gd name="connsiteY6" fmla="*/ 0 h 10000"/>
              <a:gd name="connsiteX0" fmla="*/ 9932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7162 h 10000"/>
              <a:gd name="connsiteX3" fmla="*/ 516 w 10000"/>
              <a:gd name="connsiteY3" fmla="*/ 10000 h 10000"/>
              <a:gd name="connsiteX4" fmla="*/ 1036 w 10000"/>
              <a:gd name="connsiteY4" fmla="*/ 7162 h 10000"/>
              <a:gd name="connsiteX5" fmla="*/ 9931 w 10000"/>
              <a:gd name="connsiteY5" fmla="*/ 7311 h 10000"/>
              <a:gd name="connsiteX6" fmla="*/ 9932 w 10000"/>
              <a:gd name="connsiteY6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9932" y="0"/>
                </a:moveTo>
                <a:lnTo>
                  <a:pt x="0" y="0"/>
                </a:lnTo>
                <a:lnTo>
                  <a:pt x="0" y="7162"/>
                </a:lnTo>
                <a:cubicBezTo>
                  <a:pt x="408" y="7162"/>
                  <a:pt x="516" y="10000"/>
                  <a:pt x="516" y="10000"/>
                </a:cubicBezTo>
                <a:cubicBezTo>
                  <a:pt x="516" y="10000"/>
                  <a:pt x="625" y="7162"/>
                  <a:pt x="1036" y="7162"/>
                </a:cubicBezTo>
                <a:lnTo>
                  <a:pt x="9931" y="7311"/>
                </a:lnTo>
                <a:cubicBezTo>
                  <a:pt x="9921" y="3456"/>
                  <a:pt x="10000" y="2387"/>
                  <a:pt x="9932" y="0"/>
                </a:cubicBezTo>
                <a:close/>
              </a:path>
            </a:pathLst>
          </a:cu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custGeom>
            <a:avLst/>
            <a:gdLst>
              <a:gd name="connsiteX0" fmla="*/ 0 w 9905999"/>
              <a:gd name="connsiteY0" fmla="*/ 0 h 728700"/>
              <a:gd name="connsiteX1" fmla="*/ 9905999 w 9905999"/>
              <a:gd name="connsiteY1" fmla="*/ 0 h 728700"/>
              <a:gd name="connsiteX2" fmla="*/ 9905999 w 9905999"/>
              <a:gd name="connsiteY2" fmla="*/ 728700 h 728700"/>
              <a:gd name="connsiteX3" fmla="*/ 0 w 9905999"/>
              <a:gd name="connsiteY3" fmla="*/ 728700 h 728700"/>
              <a:gd name="connsiteX4" fmla="*/ 0 w 9905999"/>
              <a:gd name="connsiteY4" fmla="*/ 0 h 728700"/>
              <a:gd name="connsiteX0" fmla="*/ 0 w 11556999"/>
              <a:gd name="connsiteY0" fmla="*/ 121450 h 850150"/>
              <a:gd name="connsiteX1" fmla="*/ 9905999 w 11556999"/>
              <a:gd name="connsiteY1" fmla="*/ 121450 h 850150"/>
              <a:gd name="connsiteX2" fmla="*/ 9905999 w 11556999"/>
              <a:gd name="connsiteY2" fmla="*/ 850150 h 850150"/>
              <a:gd name="connsiteX3" fmla="*/ 0 w 11556999"/>
              <a:gd name="connsiteY3" fmla="*/ 850150 h 850150"/>
              <a:gd name="connsiteX4" fmla="*/ 0 w 11556999"/>
              <a:gd name="connsiteY4" fmla="*/ 121450 h 850150"/>
              <a:gd name="connsiteX0" fmla="*/ 0 w 9905999"/>
              <a:gd name="connsiteY0" fmla="*/ 121450 h 850150"/>
              <a:gd name="connsiteX1" fmla="*/ 9905999 w 9905999"/>
              <a:gd name="connsiteY1" fmla="*/ 121450 h 850150"/>
              <a:gd name="connsiteX2" fmla="*/ 9905999 w 9905999"/>
              <a:gd name="connsiteY2" fmla="*/ 850150 h 850150"/>
              <a:gd name="connsiteX3" fmla="*/ 0 w 9905999"/>
              <a:gd name="connsiteY3" fmla="*/ 850150 h 850150"/>
              <a:gd name="connsiteX4" fmla="*/ 0 w 9905999"/>
              <a:gd name="connsiteY4" fmla="*/ 121450 h 850150"/>
              <a:gd name="connsiteX0" fmla="*/ 0 w 9905999"/>
              <a:gd name="connsiteY0" fmla="*/ 0 h 728700"/>
              <a:gd name="connsiteX1" fmla="*/ 9905999 w 9905999"/>
              <a:gd name="connsiteY1" fmla="*/ 0 h 728700"/>
              <a:gd name="connsiteX2" fmla="*/ 9905999 w 9905999"/>
              <a:gd name="connsiteY2" fmla="*/ 728700 h 728700"/>
              <a:gd name="connsiteX3" fmla="*/ 0 w 9905999"/>
              <a:gd name="connsiteY3" fmla="*/ 728700 h 728700"/>
              <a:gd name="connsiteX4" fmla="*/ 0 w 9905999"/>
              <a:gd name="connsiteY4" fmla="*/ 0 h 7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728700">
                <a:moveTo>
                  <a:pt x="0" y="0"/>
                </a:moveTo>
                <a:lnTo>
                  <a:pt x="9905999" y="0"/>
                </a:lnTo>
                <a:lnTo>
                  <a:pt x="9905999" y="728700"/>
                </a:lnTo>
                <a:lnTo>
                  <a:pt x="0" y="728700"/>
                </a:lnTo>
                <a:lnTo>
                  <a:pt x="0" y="0"/>
                </a:lnTo>
                <a:close/>
              </a:path>
            </a:pathLst>
          </a:custGeom>
          <a:solidFill>
            <a:srgbClr val="F8F8F8"/>
          </a:solidFill>
        </p:spPr>
        <p:txBody>
          <a:bodyPr vert="horz" lIns="297529" tIns="33059" rIns="165294" bIns="33059" rtlCol="0" anchor="ctr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2" y="1"/>
            <a:ext cx="9906000" cy="685799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/>
            <a:endParaRPr lang="en-GB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98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722813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71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9375" y="2092325"/>
            <a:ext cx="6016625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8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61" name="Picture 1" descr="D:\Users\dxavier\Desktop\helen (UK)\final\inner 2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902825" cy="68580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6964" y="1084274"/>
            <a:ext cx="9120055" cy="5087937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94600" y="6740525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tx1">
                    <a:tint val="7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921500" y="6540500"/>
            <a:ext cx="2894013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rgbClr val="FFFFFF">
                    <a:lumMod val="50000"/>
                  </a:srgbClr>
                </a:solidFill>
                <a:latin typeface="Calibri" pitchFamily="34" charset="0"/>
                <a:cs typeface="Calibri" pitchFamily="34" charset="0"/>
              </a:rPr>
              <a:t>Copyright © 2013 Capgemini Consulting. All rights reserved.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8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8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5" y="6526091"/>
            <a:ext cx="2146978" cy="273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9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7" y="1032038"/>
            <a:ext cx="9282683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7594600" y="6713540"/>
            <a:ext cx="2311400" cy="1492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C88543-C925-40B9-B26E-E942602C2AE1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96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C swoosh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56695"/>
            <a:ext cx="9906000" cy="516864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9453563" y="5842000"/>
            <a:ext cx="236537" cy="207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815263" y="5972175"/>
            <a:ext cx="2090737" cy="2333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36000" bIns="396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20" dirty="0">
                <a:solidFill>
                  <a:srgbClr val="FFFFFF"/>
                </a:solidFill>
                <a:cs typeface="Arial" charset="0"/>
              </a:rPr>
              <a:t>Transform to the power of digit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6593" y="1553432"/>
            <a:ext cx="7150789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6593" y="2131443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20" y="6355531"/>
            <a:ext cx="4114800" cy="523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98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780910"/>
            <a:ext cx="9906000" cy="404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00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9375" y="2092325"/>
            <a:ext cx="6016625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03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05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0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 bwMode="auto">
          <a:xfrm>
            <a:off x="-1" y="435429"/>
            <a:ext cx="9898743" cy="64153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7 Capgemini. All rights reserved.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15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73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597440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1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8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feld 14"/>
          <p:cNvSpPr txBox="1"/>
          <p:nvPr userDrawn="1"/>
        </p:nvSpPr>
        <p:spPr bwMode="auto">
          <a:xfrm>
            <a:off x="6393200" y="6596488"/>
            <a:ext cx="2999539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 noProof="0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opyright © 2017 Capgemini Consulting. All rights reserved.</a:t>
            </a:r>
          </a:p>
        </p:txBody>
      </p:sp>
      <p:pic>
        <p:nvPicPr>
          <p:cNvPr id="15" name="Picture 3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130" y="6287759"/>
            <a:ext cx="496445" cy="57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210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36" y="1792974"/>
            <a:ext cx="9210677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312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7" y="1382234"/>
            <a:ext cx="9005813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15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17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9000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20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Maroon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933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1384300"/>
            <a:ext cx="4953000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953000" y="2252663"/>
            <a:ext cx="2712516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7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19250" y="6353175"/>
            <a:ext cx="2279650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22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24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938381" y="1881963"/>
            <a:ext cx="2712516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Calibri"/>
                <a:ea typeface="+mn-ea"/>
                <a:cs typeface="Arial" pitchFamily="34" charset="0"/>
                <a:sym typeface="Calibri"/>
              </a:defRPr>
            </a:lvl1pPr>
          </a:lstStyle>
          <a:p>
            <a:pPr lvl="0"/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17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67"/>
          <p:cNvSpPr>
            <a:spLocks/>
          </p:cNvSpPr>
          <p:nvPr userDrawn="1"/>
        </p:nvSpPr>
        <p:spPr bwMode="auto">
          <a:xfrm>
            <a:off x="-5795" y="0"/>
            <a:ext cx="9928800" cy="6093466"/>
          </a:xfrm>
          <a:custGeom>
            <a:avLst/>
            <a:gdLst>
              <a:gd name="connsiteX0" fmla="*/ 10000 w 10000"/>
              <a:gd name="connsiteY0" fmla="*/ 6563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10000 w 10000"/>
              <a:gd name="connsiteY16" fmla="*/ 6563 h 16563"/>
              <a:gd name="connsiteX0" fmla="*/ 9930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30 w 10000"/>
              <a:gd name="connsiteY16" fmla="*/ 0 h 16563"/>
              <a:gd name="connsiteX0" fmla="*/ 9993 w 10016"/>
              <a:gd name="connsiteY0" fmla="*/ 0 h 16563"/>
              <a:gd name="connsiteX1" fmla="*/ 7 w 10016"/>
              <a:gd name="connsiteY1" fmla="*/ 0 h 16563"/>
              <a:gd name="connsiteX2" fmla="*/ 0 w 10016"/>
              <a:gd name="connsiteY2" fmla="*/ 14916 h 16563"/>
              <a:gd name="connsiteX3" fmla="*/ 0 w 10016"/>
              <a:gd name="connsiteY3" fmla="*/ 14916 h 16563"/>
              <a:gd name="connsiteX4" fmla="*/ 0 w 10016"/>
              <a:gd name="connsiteY4" fmla="*/ 15092 h 16563"/>
              <a:gd name="connsiteX5" fmla="*/ 388 w 10016"/>
              <a:gd name="connsiteY5" fmla="*/ 15092 h 16563"/>
              <a:gd name="connsiteX6" fmla="*/ 626 w 10016"/>
              <a:gd name="connsiteY6" fmla="*/ 16563 h 16563"/>
              <a:gd name="connsiteX7" fmla="*/ 865 w 10016"/>
              <a:gd name="connsiteY7" fmla="*/ 15092 h 16563"/>
              <a:gd name="connsiteX8" fmla="*/ 1057 w 10016"/>
              <a:gd name="connsiteY8" fmla="*/ 15092 h 16563"/>
              <a:gd name="connsiteX9" fmla="*/ 2653 w 10016"/>
              <a:gd name="connsiteY9" fmla="*/ 15092 h 16563"/>
              <a:gd name="connsiteX10" fmla="*/ 5124 w 10016"/>
              <a:gd name="connsiteY10" fmla="*/ 15092 h 16563"/>
              <a:gd name="connsiteX11" fmla="*/ 7681 w 10016"/>
              <a:gd name="connsiteY11" fmla="*/ 15092 h 16563"/>
              <a:gd name="connsiteX12" fmla="*/ 9536 w 10016"/>
              <a:gd name="connsiteY12" fmla="*/ 15092 h 16563"/>
              <a:gd name="connsiteX13" fmla="*/ 9997 w 10016"/>
              <a:gd name="connsiteY13" fmla="*/ 15092 h 16563"/>
              <a:gd name="connsiteX14" fmla="*/ 10000 w 10016"/>
              <a:gd name="connsiteY14" fmla="*/ 14916 h 16563"/>
              <a:gd name="connsiteX15" fmla="*/ 10000 w 10016"/>
              <a:gd name="connsiteY15" fmla="*/ 14916 h 16563"/>
              <a:gd name="connsiteX16" fmla="*/ 9993 w 10016"/>
              <a:gd name="connsiteY16" fmla="*/ 0 h 16563"/>
              <a:gd name="connsiteX0" fmla="*/ 9993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9993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536 w 10000"/>
              <a:gd name="connsiteY12" fmla="*/ 15092 h 16563"/>
              <a:gd name="connsiteX13" fmla="*/ 9997 w 10000"/>
              <a:gd name="connsiteY13" fmla="*/ 15092 h 16563"/>
              <a:gd name="connsiteX14" fmla="*/ 10000 w 10000"/>
              <a:gd name="connsiteY14" fmla="*/ 14916 h 16563"/>
              <a:gd name="connsiteX15" fmla="*/ 10000 w 10000"/>
              <a:gd name="connsiteY15" fmla="*/ 14916 h 16563"/>
              <a:gd name="connsiteX16" fmla="*/ 8962 w 10000"/>
              <a:gd name="connsiteY16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10000 w 10000"/>
              <a:gd name="connsiteY14" fmla="*/ 14916 h 16563"/>
              <a:gd name="connsiteX15" fmla="*/ 8962 w 10000"/>
              <a:gd name="connsiteY15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10000 w 10000"/>
              <a:gd name="connsiteY13" fmla="*/ 14916 h 16563"/>
              <a:gd name="connsiteX14" fmla="*/ 8962 w 10000"/>
              <a:gd name="connsiteY14" fmla="*/ 0 h 16563"/>
              <a:gd name="connsiteX0" fmla="*/ 8962 w 10000"/>
              <a:gd name="connsiteY0" fmla="*/ 0 h 16563"/>
              <a:gd name="connsiteX1" fmla="*/ 7 w 10000"/>
              <a:gd name="connsiteY1" fmla="*/ 0 h 16563"/>
              <a:gd name="connsiteX2" fmla="*/ 0 w 10000"/>
              <a:gd name="connsiteY2" fmla="*/ 14916 h 16563"/>
              <a:gd name="connsiteX3" fmla="*/ 0 w 10000"/>
              <a:gd name="connsiteY3" fmla="*/ 14916 h 16563"/>
              <a:gd name="connsiteX4" fmla="*/ 0 w 10000"/>
              <a:gd name="connsiteY4" fmla="*/ 15092 h 16563"/>
              <a:gd name="connsiteX5" fmla="*/ 388 w 10000"/>
              <a:gd name="connsiteY5" fmla="*/ 15092 h 16563"/>
              <a:gd name="connsiteX6" fmla="*/ 626 w 10000"/>
              <a:gd name="connsiteY6" fmla="*/ 16563 h 16563"/>
              <a:gd name="connsiteX7" fmla="*/ 865 w 10000"/>
              <a:gd name="connsiteY7" fmla="*/ 15092 h 16563"/>
              <a:gd name="connsiteX8" fmla="*/ 1057 w 10000"/>
              <a:gd name="connsiteY8" fmla="*/ 15092 h 16563"/>
              <a:gd name="connsiteX9" fmla="*/ 2653 w 10000"/>
              <a:gd name="connsiteY9" fmla="*/ 15092 h 16563"/>
              <a:gd name="connsiteX10" fmla="*/ 5124 w 10000"/>
              <a:gd name="connsiteY10" fmla="*/ 15092 h 16563"/>
              <a:gd name="connsiteX11" fmla="*/ 7681 w 10000"/>
              <a:gd name="connsiteY11" fmla="*/ 15092 h 16563"/>
              <a:gd name="connsiteX12" fmla="*/ 9997 w 10000"/>
              <a:gd name="connsiteY12" fmla="*/ 15092 h 16563"/>
              <a:gd name="connsiteX13" fmla="*/ 9739 w 10000"/>
              <a:gd name="connsiteY13" fmla="*/ 14471 h 16563"/>
              <a:gd name="connsiteX14" fmla="*/ 8962 w 10000"/>
              <a:gd name="connsiteY14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9997 w 10627"/>
              <a:gd name="connsiteY12" fmla="*/ 15092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10627"/>
              <a:gd name="connsiteY0" fmla="*/ 0 h 16563"/>
              <a:gd name="connsiteX1" fmla="*/ 7 w 10627"/>
              <a:gd name="connsiteY1" fmla="*/ 0 h 16563"/>
              <a:gd name="connsiteX2" fmla="*/ 0 w 10627"/>
              <a:gd name="connsiteY2" fmla="*/ 14916 h 16563"/>
              <a:gd name="connsiteX3" fmla="*/ 0 w 10627"/>
              <a:gd name="connsiteY3" fmla="*/ 14916 h 16563"/>
              <a:gd name="connsiteX4" fmla="*/ 0 w 10627"/>
              <a:gd name="connsiteY4" fmla="*/ 15092 h 16563"/>
              <a:gd name="connsiteX5" fmla="*/ 388 w 10627"/>
              <a:gd name="connsiteY5" fmla="*/ 15092 h 16563"/>
              <a:gd name="connsiteX6" fmla="*/ 626 w 10627"/>
              <a:gd name="connsiteY6" fmla="*/ 16563 h 16563"/>
              <a:gd name="connsiteX7" fmla="*/ 865 w 10627"/>
              <a:gd name="connsiteY7" fmla="*/ 15092 h 16563"/>
              <a:gd name="connsiteX8" fmla="*/ 1057 w 10627"/>
              <a:gd name="connsiteY8" fmla="*/ 15092 h 16563"/>
              <a:gd name="connsiteX9" fmla="*/ 2653 w 10627"/>
              <a:gd name="connsiteY9" fmla="*/ 15092 h 16563"/>
              <a:gd name="connsiteX10" fmla="*/ 5124 w 10627"/>
              <a:gd name="connsiteY10" fmla="*/ 15092 h 16563"/>
              <a:gd name="connsiteX11" fmla="*/ 7681 w 10627"/>
              <a:gd name="connsiteY11" fmla="*/ 15092 h 16563"/>
              <a:gd name="connsiteX12" fmla="*/ 8962 w 10627"/>
              <a:gd name="connsiteY12" fmla="*/ 15036 h 16563"/>
              <a:gd name="connsiteX13" fmla="*/ 8962 w 10627"/>
              <a:gd name="connsiteY13" fmla="*/ 0 h 16563"/>
              <a:gd name="connsiteX0" fmla="*/ 8962 w 8968"/>
              <a:gd name="connsiteY0" fmla="*/ 0 h 16563"/>
              <a:gd name="connsiteX1" fmla="*/ 7 w 8968"/>
              <a:gd name="connsiteY1" fmla="*/ 0 h 16563"/>
              <a:gd name="connsiteX2" fmla="*/ 0 w 8968"/>
              <a:gd name="connsiteY2" fmla="*/ 14916 h 16563"/>
              <a:gd name="connsiteX3" fmla="*/ 0 w 8968"/>
              <a:gd name="connsiteY3" fmla="*/ 14916 h 16563"/>
              <a:gd name="connsiteX4" fmla="*/ 0 w 8968"/>
              <a:gd name="connsiteY4" fmla="*/ 15092 h 16563"/>
              <a:gd name="connsiteX5" fmla="*/ 388 w 8968"/>
              <a:gd name="connsiteY5" fmla="*/ 15092 h 16563"/>
              <a:gd name="connsiteX6" fmla="*/ 626 w 8968"/>
              <a:gd name="connsiteY6" fmla="*/ 16563 h 16563"/>
              <a:gd name="connsiteX7" fmla="*/ 865 w 8968"/>
              <a:gd name="connsiteY7" fmla="*/ 15092 h 16563"/>
              <a:gd name="connsiteX8" fmla="*/ 1057 w 8968"/>
              <a:gd name="connsiteY8" fmla="*/ 15092 h 16563"/>
              <a:gd name="connsiteX9" fmla="*/ 2653 w 8968"/>
              <a:gd name="connsiteY9" fmla="*/ 15092 h 16563"/>
              <a:gd name="connsiteX10" fmla="*/ 5124 w 8968"/>
              <a:gd name="connsiteY10" fmla="*/ 15092 h 16563"/>
              <a:gd name="connsiteX11" fmla="*/ 7681 w 8968"/>
              <a:gd name="connsiteY11" fmla="*/ 15092 h 16563"/>
              <a:gd name="connsiteX12" fmla="*/ 8962 w 8968"/>
              <a:gd name="connsiteY12" fmla="*/ 15036 h 16563"/>
              <a:gd name="connsiteX13" fmla="*/ 8962 w 8968"/>
              <a:gd name="connsiteY13" fmla="*/ 0 h 16563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09"/>
              <a:gd name="connsiteY0" fmla="*/ 0 h 10000"/>
              <a:gd name="connsiteX1" fmla="*/ 8 w 10009"/>
              <a:gd name="connsiteY1" fmla="*/ 0 h 10000"/>
              <a:gd name="connsiteX2" fmla="*/ 0 w 10009"/>
              <a:gd name="connsiteY2" fmla="*/ 9006 h 10000"/>
              <a:gd name="connsiteX3" fmla="*/ 0 w 10009"/>
              <a:gd name="connsiteY3" fmla="*/ 9006 h 10000"/>
              <a:gd name="connsiteX4" fmla="*/ 0 w 10009"/>
              <a:gd name="connsiteY4" fmla="*/ 9112 h 10000"/>
              <a:gd name="connsiteX5" fmla="*/ 433 w 10009"/>
              <a:gd name="connsiteY5" fmla="*/ 9112 h 10000"/>
              <a:gd name="connsiteX6" fmla="*/ 698 w 10009"/>
              <a:gd name="connsiteY6" fmla="*/ 10000 h 10000"/>
              <a:gd name="connsiteX7" fmla="*/ 965 w 10009"/>
              <a:gd name="connsiteY7" fmla="*/ 9112 h 10000"/>
              <a:gd name="connsiteX8" fmla="*/ 1179 w 10009"/>
              <a:gd name="connsiteY8" fmla="*/ 9112 h 10000"/>
              <a:gd name="connsiteX9" fmla="*/ 2958 w 10009"/>
              <a:gd name="connsiteY9" fmla="*/ 9112 h 10000"/>
              <a:gd name="connsiteX10" fmla="*/ 5714 w 10009"/>
              <a:gd name="connsiteY10" fmla="*/ 9112 h 10000"/>
              <a:gd name="connsiteX11" fmla="*/ 8565 w 10009"/>
              <a:gd name="connsiteY11" fmla="*/ 9112 h 10000"/>
              <a:gd name="connsiteX12" fmla="*/ 9993 w 10009"/>
              <a:gd name="connsiteY12" fmla="*/ 9078 h 10000"/>
              <a:gd name="connsiteX13" fmla="*/ 9993 w 10009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10084"/>
              <a:gd name="connsiteY0" fmla="*/ 0 h 10000"/>
              <a:gd name="connsiteX1" fmla="*/ 8 w 10084"/>
              <a:gd name="connsiteY1" fmla="*/ 0 h 10000"/>
              <a:gd name="connsiteX2" fmla="*/ 0 w 10084"/>
              <a:gd name="connsiteY2" fmla="*/ 9006 h 10000"/>
              <a:gd name="connsiteX3" fmla="*/ 0 w 10084"/>
              <a:gd name="connsiteY3" fmla="*/ 9006 h 10000"/>
              <a:gd name="connsiteX4" fmla="*/ 0 w 10084"/>
              <a:gd name="connsiteY4" fmla="*/ 9112 h 10000"/>
              <a:gd name="connsiteX5" fmla="*/ 433 w 10084"/>
              <a:gd name="connsiteY5" fmla="*/ 9112 h 10000"/>
              <a:gd name="connsiteX6" fmla="*/ 698 w 10084"/>
              <a:gd name="connsiteY6" fmla="*/ 10000 h 10000"/>
              <a:gd name="connsiteX7" fmla="*/ 965 w 10084"/>
              <a:gd name="connsiteY7" fmla="*/ 9112 h 10000"/>
              <a:gd name="connsiteX8" fmla="*/ 1179 w 10084"/>
              <a:gd name="connsiteY8" fmla="*/ 9112 h 10000"/>
              <a:gd name="connsiteX9" fmla="*/ 2958 w 10084"/>
              <a:gd name="connsiteY9" fmla="*/ 9112 h 10000"/>
              <a:gd name="connsiteX10" fmla="*/ 5714 w 10084"/>
              <a:gd name="connsiteY10" fmla="*/ 9112 h 10000"/>
              <a:gd name="connsiteX11" fmla="*/ 8565 w 10084"/>
              <a:gd name="connsiteY11" fmla="*/ 9112 h 10000"/>
              <a:gd name="connsiteX12" fmla="*/ 9993 w 10084"/>
              <a:gd name="connsiteY12" fmla="*/ 9078 h 10000"/>
              <a:gd name="connsiteX13" fmla="*/ 9993 w 10084"/>
              <a:gd name="connsiteY13" fmla="*/ 0 h 10000"/>
              <a:gd name="connsiteX0" fmla="*/ 9993 w 9998"/>
              <a:gd name="connsiteY0" fmla="*/ 0 h 10000"/>
              <a:gd name="connsiteX1" fmla="*/ 8 w 9998"/>
              <a:gd name="connsiteY1" fmla="*/ 0 h 10000"/>
              <a:gd name="connsiteX2" fmla="*/ 0 w 9998"/>
              <a:gd name="connsiteY2" fmla="*/ 9006 h 10000"/>
              <a:gd name="connsiteX3" fmla="*/ 0 w 9998"/>
              <a:gd name="connsiteY3" fmla="*/ 9006 h 10000"/>
              <a:gd name="connsiteX4" fmla="*/ 0 w 9998"/>
              <a:gd name="connsiteY4" fmla="*/ 9112 h 10000"/>
              <a:gd name="connsiteX5" fmla="*/ 433 w 9998"/>
              <a:gd name="connsiteY5" fmla="*/ 9112 h 10000"/>
              <a:gd name="connsiteX6" fmla="*/ 698 w 9998"/>
              <a:gd name="connsiteY6" fmla="*/ 10000 h 10000"/>
              <a:gd name="connsiteX7" fmla="*/ 965 w 9998"/>
              <a:gd name="connsiteY7" fmla="*/ 9112 h 10000"/>
              <a:gd name="connsiteX8" fmla="*/ 1179 w 9998"/>
              <a:gd name="connsiteY8" fmla="*/ 9112 h 10000"/>
              <a:gd name="connsiteX9" fmla="*/ 2958 w 9998"/>
              <a:gd name="connsiteY9" fmla="*/ 9112 h 10000"/>
              <a:gd name="connsiteX10" fmla="*/ 5714 w 9998"/>
              <a:gd name="connsiteY10" fmla="*/ 9112 h 10000"/>
              <a:gd name="connsiteX11" fmla="*/ 8565 w 9998"/>
              <a:gd name="connsiteY11" fmla="*/ 9112 h 10000"/>
              <a:gd name="connsiteX12" fmla="*/ 9993 w 9998"/>
              <a:gd name="connsiteY12" fmla="*/ 9078 h 10000"/>
              <a:gd name="connsiteX13" fmla="*/ 9993 w 9998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67 w 10000"/>
              <a:gd name="connsiteY11" fmla="*/ 9112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8521 w 10000"/>
              <a:gd name="connsiteY11" fmla="*/ 9078 h 10000"/>
              <a:gd name="connsiteX12" fmla="*/ 9995 w 10000"/>
              <a:gd name="connsiteY12" fmla="*/ 9078 h 10000"/>
              <a:gd name="connsiteX13" fmla="*/ 9995 w 10000"/>
              <a:gd name="connsiteY13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5715 w 10000"/>
              <a:gd name="connsiteY10" fmla="*/ 9112 h 10000"/>
              <a:gd name="connsiteX11" fmla="*/ 9995 w 10000"/>
              <a:gd name="connsiteY11" fmla="*/ 9078 h 10000"/>
              <a:gd name="connsiteX12" fmla="*/ 9995 w 10000"/>
              <a:gd name="connsiteY12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2959 w 10000"/>
              <a:gd name="connsiteY9" fmla="*/ 9112 h 10000"/>
              <a:gd name="connsiteX10" fmla="*/ 9995 w 10000"/>
              <a:gd name="connsiteY10" fmla="*/ 9078 h 10000"/>
              <a:gd name="connsiteX11" fmla="*/ 9995 w 10000"/>
              <a:gd name="connsiteY11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0 w 10000"/>
              <a:gd name="connsiteY3" fmla="*/ 9006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006 h 10000"/>
              <a:gd name="connsiteX3" fmla="*/ 7 w 10000"/>
              <a:gd name="connsiteY3" fmla="*/ 7032 h 10000"/>
              <a:gd name="connsiteX4" fmla="*/ 0 w 10000"/>
              <a:gd name="connsiteY4" fmla="*/ 9112 h 10000"/>
              <a:gd name="connsiteX5" fmla="*/ 433 w 10000"/>
              <a:gd name="connsiteY5" fmla="*/ 9112 h 10000"/>
              <a:gd name="connsiteX6" fmla="*/ 698 w 10000"/>
              <a:gd name="connsiteY6" fmla="*/ 10000 h 10000"/>
              <a:gd name="connsiteX7" fmla="*/ 965 w 10000"/>
              <a:gd name="connsiteY7" fmla="*/ 9112 h 10000"/>
              <a:gd name="connsiteX8" fmla="*/ 1179 w 10000"/>
              <a:gd name="connsiteY8" fmla="*/ 9112 h 10000"/>
              <a:gd name="connsiteX9" fmla="*/ 9995 w 10000"/>
              <a:gd name="connsiteY9" fmla="*/ 9078 h 10000"/>
              <a:gd name="connsiteX10" fmla="*/ 9995 w 10000"/>
              <a:gd name="connsiteY10" fmla="*/ 0 h 10000"/>
              <a:gd name="connsiteX0" fmla="*/ 10067 w 10072"/>
              <a:gd name="connsiteY0" fmla="*/ 0 h 10525"/>
              <a:gd name="connsiteX1" fmla="*/ 80 w 10072"/>
              <a:gd name="connsiteY1" fmla="*/ 0 h 10525"/>
              <a:gd name="connsiteX2" fmla="*/ 72 w 10072"/>
              <a:gd name="connsiteY2" fmla="*/ 9006 h 10525"/>
              <a:gd name="connsiteX3" fmla="*/ 72 w 10072"/>
              <a:gd name="connsiteY3" fmla="*/ 9112 h 10525"/>
              <a:gd name="connsiteX4" fmla="*/ 505 w 10072"/>
              <a:gd name="connsiteY4" fmla="*/ 9112 h 10525"/>
              <a:gd name="connsiteX5" fmla="*/ 770 w 10072"/>
              <a:gd name="connsiteY5" fmla="*/ 10000 h 10525"/>
              <a:gd name="connsiteX6" fmla="*/ 1037 w 10072"/>
              <a:gd name="connsiteY6" fmla="*/ 9112 h 10525"/>
              <a:gd name="connsiteX7" fmla="*/ 1251 w 10072"/>
              <a:gd name="connsiteY7" fmla="*/ 9112 h 10525"/>
              <a:gd name="connsiteX8" fmla="*/ 10067 w 10072"/>
              <a:gd name="connsiteY8" fmla="*/ 9078 h 10525"/>
              <a:gd name="connsiteX9" fmla="*/ 10067 w 10072"/>
              <a:gd name="connsiteY9" fmla="*/ 0 h 10525"/>
              <a:gd name="connsiteX0" fmla="*/ 10067 w 10072"/>
              <a:gd name="connsiteY0" fmla="*/ 0 h 10000"/>
              <a:gd name="connsiteX1" fmla="*/ 80 w 10072"/>
              <a:gd name="connsiteY1" fmla="*/ 0 h 10000"/>
              <a:gd name="connsiteX2" fmla="*/ 79 w 10072"/>
              <a:gd name="connsiteY2" fmla="*/ 7714 h 10000"/>
              <a:gd name="connsiteX3" fmla="*/ 72 w 10072"/>
              <a:gd name="connsiteY3" fmla="*/ 9112 h 10000"/>
              <a:gd name="connsiteX4" fmla="*/ 505 w 10072"/>
              <a:gd name="connsiteY4" fmla="*/ 9112 h 10000"/>
              <a:gd name="connsiteX5" fmla="*/ 770 w 10072"/>
              <a:gd name="connsiteY5" fmla="*/ 10000 h 10000"/>
              <a:gd name="connsiteX6" fmla="*/ 1037 w 10072"/>
              <a:gd name="connsiteY6" fmla="*/ 9112 h 10000"/>
              <a:gd name="connsiteX7" fmla="*/ 1251 w 10072"/>
              <a:gd name="connsiteY7" fmla="*/ 9112 h 10000"/>
              <a:gd name="connsiteX8" fmla="*/ 10067 w 10072"/>
              <a:gd name="connsiteY8" fmla="*/ 9078 h 10000"/>
              <a:gd name="connsiteX9" fmla="*/ 10067 w 10072"/>
              <a:gd name="connsiteY9" fmla="*/ 0 h 10000"/>
              <a:gd name="connsiteX0" fmla="*/ 11653 w 11658"/>
              <a:gd name="connsiteY0" fmla="*/ 0 h 10000"/>
              <a:gd name="connsiteX1" fmla="*/ 1666 w 11658"/>
              <a:gd name="connsiteY1" fmla="*/ 0 h 10000"/>
              <a:gd name="connsiteX2" fmla="*/ 1658 w 11658"/>
              <a:gd name="connsiteY2" fmla="*/ 9112 h 10000"/>
              <a:gd name="connsiteX3" fmla="*/ 2091 w 11658"/>
              <a:gd name="connsiteY3" fmla="*/ 9112 h 10000"/>
              <a:gd name="connsiteX4" fmla="*/ 2356 w 11658"/>
              <a:gd name="connsiteY4" fmla="*/ 10000 h 10000"/>
              <a:gd name="connsiteX5" fmla="*/ 2623 w 11658"/>
              <a:gd name="connsiteY5" fmla="*/ 9112 h 10000"/>
              <a:gd name="connsiteX6" fmla="*/ 2837 w 11658"/>
              <a:gd name="connsiteY6" fmla="*/ 9112 h 10000"/>
              <a:gd name="connsiteX7" fmla="*/ 11653 w 11658"/>
              <a:gd name="connsiteY7" fmla="*/ 9078 h 10000"/>
              <a:gd name="connsiteX8" fmla="*/ 11653 w 11658"/>
              <a:gd name="connsiteY8" fmla="*/ 0 h 10000"/>
              <a:gd name="connsiteX0" fmla="*/ 10066 w 10071"/>
              <a:gd name="connsiteY0" fmla="*/ 0 h 10000"/>
              <a:gd name="connsiteX1" fmla="*/ 79 w 10071"/>
              <a:gd name="connsiteY1" fmla="*/ 0 h 10000"/>
              <a:gd name="connsiteX2" fmla="*/ 71 w 10071"/>
              <a:gd name="connsiteY2" fmla="*/ 9112 h 10000"/>
              <a:gd name="connsiteX3" fmla="*/ 504 w 10071"/>
              <a:gd name="connsiteY3" fmla="*/ 9112 h 10000"/>
              <a:gd name="connsiteX4" fmla="*/ 769 w 10071"/>
              <a:gd name="connsiteY4" fmla="*/ 10000 h 10000"/>
              <a:gd name="connsiteX5" fmla="*/ 1036 w 10071"/>
              <a:gd name="connsiteY5" fmla="*/ 9112 h 10000"/>
              <a:gd name="connsiteX6" fmla="*/ 1250 w 10071"/>
              <a:gd name="connsiteY6" fmla="*/ 9112 h 10000"/>
              <a:gd name="connsiteX7" fmla="*/ 10066 w 10071"/>
              <a:gd name="connsiteY7" fmla="*/ 9078 h 10000"/>
              <a:gd name="connsiteX8" fmla="*/ 10066 w 10071"/>
              <a:gd name="connsiteY8" fmla="*/ 0 h 10000"/>
              <a:gd name="connsiteX0" fmla="*/ 9995 w 10000"/>
              <a:gd name="connsiteY0" fmla="*/ 0 h 10000"/>
              <a:gd name="connsiteX1" fmla="*/ 8 w 10000"/>
              <a:gd name="connsiteY1" fmla="*/ 0 h 10000"/>
              <a:gd name="connsiteX2" fmla="*/ 0 w 10000"/>
              <a:gd name="connsiteY2" fmla="*/ 9112 h 10000"/>
              <a:gd name="connsiteX3" fmla="*/ 433 w 10000"/>
              <a:gd name="connsiteY3" fmla="*/ 9112 h 10000"/>
              <a:gd name="connsiteX4" fmla="*/ 698 w 10000"/>
              <a:gd name="connsiteY4" fmla="*/ 10000 h 10000"/>
              <a:gd name="connsiteX5" fmla="*/ 965 w 10000"/>
              <a:gd name="connsiteY5" fmla="*/ 9112 h 10000"/>
              <a:gd name="connsiteX6" fmla="*/ 1179 w 10000"/>
              <a:gd name="connsiteY6" fmla="*/ 9112 h 10000"/>
              <a:gd name="connsiteX7" fmla="*/ 9995 w 10000"/>
              <a:gd name="connsiteY7" fmla="*/ 9078 h 10000"/>
              <a:gd name="connsiteX8" fmla="*/ 9995 w 10000"/>
              <a:gd name="connsiteY8" fmla="*/ 0 h 10000"/>
              <a:gd name="connsiteX0" fmla="*/ 9993 w 9998"/>
              <a:gd name="connsiteY0" fmla="*/ 0 h 10000"/>
              <a:gd name="connsiteX1" fmla="*/ 6 w 9998"/>
              <a:gd name="connsiteY1" fmla="*/ 0 h 10000"/>
              <a:gd name="connsiteX2" fmla="*/ 234 w 9998"/>
              <a:gd name="connsiteY2" fmla="*/ 9078 h 10000"/>
              <a:gd name="connsiteX3" fmla="*/ 431 w 9998"/>
              <a:gd name="connsiteY3" fmla="*/ 9112 h 10000"/>
              <a:gd name="connsiteX4" fmla="*/ 696 w 9998"/>
              <a:gd name="connsiteY4" fmla="*/ 10000 h 10000"/>
              <a:gd name="connsiteX5" fmla="*/ 963 w 9998"/>
              <a:gd name="connsiteY5" fmla="*/ 9112 h 10000"/>
              <a:gd name="connsiteX6" fmla="*/ 1177 w 9998"/>
              <a:gd name="connsiteY6" fmla="*/ 9112 h 10000"/>
              <a:gd name="connsiteX7" fmla="*/ 9993 w 9998"/>
              <a:gd name="connsiteY7" fmla="*/ 9078 h 10000"/>
              <a:gd name="connsiteX8" fmla="*/ 9993 w 9998"/>
              <a:gd name="connsiteY8" fmla="*/ 0 h 10000"/>
              <a:gd name="connsiteX0" fmla="*/ 9767 w 9772"/>
              <a:gd name="connsiteY0" fmla="*/ 0 h 10000"/>
              <a:gd name="connsiteX1" fmla="*/ 6 w 9772"/>
              <a:gd name="connsiteY1" fmla="*/ 0 h 10000"/>
              <a:gd name="connsiteX2" fmla="*/ 6 w 9772"/>
              <a:gd name="connsiteY2" fmla="*/ 9078 h 10000"/>
              <a:gd name="connsiteX3" fmla="*/ 203 w 9772"/>
              <a:gd name="connsiteY3" fmla="*/ 9112 h 10000"/>
              <a:gd name="connsiteX4" fmla="*/ 468 w 9772"/>
              <a:gd name="connsiteY4" fmla="*/ 10000 h 10000"/>
              <a:gd name="connsiteX5" fmla="*/ 735 w 9772"/>
              <a:gd name="connsiteY5" fmla="*/ 9112 h 10000"/>
              <a:gd name="connsiteX6" fmla="*/ 949 w 9772"/>
              <a:gd name="connsiteY6" fmla="*/ 9112 h 10000"/>
              <a:gd name="connsiteX7" fmla="*/ 9767 w 9772"/>
              <a:gd name="connsiteY7" fmla="*/ 9078 h 10000"/>
              <a:gd name="connsiteX8" fmla="*/ 9767 w 9772"/>
              <a:gd name="connsiteY8" fmla="*/ 0 h 10000"/>
              <a:gd name="connsiteX0" fmla="*/ 9990 w 9995"/>
              <a:gd name="connsiteY0" fmla="*/ 18860 h 28860"/>
              <a:gd name="connsiteX1" fmla="*/ 6 w 9995"/>
              <a:gd name="connsiteY1" fmla="*/ 0 h 28860"/>
              <a:gd name="connsiteX2" fmla="*/ 1 w 9995"/>
              <a:gd name="connsiteY2" fmla="*/ 27938 h 28860"/>
              <a:gd name="connsiteX3" fmla="*/ 203 w 9995"/>
              <a:gd name="connsiteY3" fmla="*/ 27972 h 28860"/>
              <a:gd name="connsiteX4" fmla="*/ 474 w 9995"/>
              <a:gd name="connsiteY4" fmla="*/ 28860 h 28860"/>
              <a:gd name="connsiteX5" fmla="*/ 747 w 9995"/>
              <a:gd name="connsiteY5" fmla="*/ 27972 h 28860"/>
              <a:gd name="connsiteX6" fmla="*/ 966 w 9995"/>
              <a:gd name="connsiteY6" fmla="*/ 27972 h 28860"/>
              <a:gd name="connsiteX7" fmla="*/ 9990 w 9995"/>
              <a:gd name="connsiteY7" fmla="*/ 27938 h 28860"/>
              <a:gd name="connsiteX8" fmla="*/ 9990 w 9995"/>
              <a:gd name="connsiteY8" fmla="*/ 18860 h 28860"/>
              <a:gd name="connsiteX0" fmla="*/ 10000 w 10005"/>
              <a:gd name="connsiteY0" fmla="*/ 0 h 10000"/>
              <a:gd name="connsiteX1" fmla="*/ 6 w 10005"/>
              <a:gd name="connsiteY1" fmla="*/ 0 h 10000"/>
              <a:gd name="connsiteX2" fmla="*/ 1 w 10005"/>
              <a:gd name="connsiteY2" fmla="*/ 9681 h 10000"/>
              <a:gd name="connsiteX3" fmla="*/ 203 w 10005"/>
              <a:gd name="connsiteY3" fmla="*/ 9692 h 10000"/>
              <a:gd name="connsiteX4" fmla="*/ 474 w 10005"/>
              <a:gd name="connsiteY4" fmla="*/ 10000 h 10000"/>
              <a:gd name="connsiteX5" fmla="*/ 747 w 10005"/>
              <a:gd name="connsiteY5" fmla="*/ 9692 h 10000"/>
              <a:gd name="connsiteX6" fmla="*/ 966 w 10005"/>
              <a:gd name="connsiteY6" fmla="*/ 9692 h 10000"/>
              <a:gd name="connsiteX7" fmla="*/ 9995 w 10005"/>
              <a:gd name="connsiteY7" fmla="*/ 9681 h 10000"/>
              <a:gd name="connsiteX8" fmla="*/ 10000 w 10005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5" h="10000">
                <a:moveTo>
                  <a:pt x="10000" y="0"/>
                </a:moveTo>
                <a:lnTo>
                  <a:pt x="6" y="0"/>
                </a:lnTo>
                <a:cubicBezTo>
                  <a:pt x="0" y="533"/>
                  <a:pt x="4" y="9107"/>
                  <a:pt x="1" y="9681"/>
                </a:cubicBezTo>
                <a:lnTo>
                  <a:pt x="203" y="9692"/>
                </a:lnTo>
                <a:cubicBezTo>
                  <a:pt x="414" y="9692"/>
                  <a:pt x="471" y="9963"/>
                  <a:pt x="474" y="10000"/>
                </a:cubicBezTo>
                <a:cubicBezTo>
                  <a:pt x="482" y="9957"/>
                  <a:pt x="534" y="9692"/>
                  <a:pt x="747" y="9692"/>
                </a:cubicBezTo>
                <a:lnTo>
                  <a:pt x="966" y="9692"/>
                </a:lnTo>
                <a:lnTo>
                  <a:pt x="9995" y="9681"/>
                </a:lnTo>
                <a:cubicBezTo>
                  <a:pt x="9992" y="9351"/>
                  <a:pt x="10005" y="153"/>
                  <a:pt x="10000" y="0"/>
                </a:cubicBez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schemeClr val="accent5">
                <a:lumMod val="60000"/>
                <a:lumOff val="40000"/>
                <a:alpha val="5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de-DE" kern="120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" name="Group 204"/>
          <p:cNvGrpSpPr/>
          <p:nvPr userDrawn="1"/>
        </p:nvGrpSpPr>
        <p:grpSpPr>
          <a:xfrm>
            <a:off x="-27638" y="1470025"/>
            <a:ext cx="9933639" cy="4445001"/>
            <a:chOff x="-27638" y="1470025"/>
            <a:chExt cx="9933639" cy="4445001"/>
          </a:xfrm>
        </p:grpSpPr>
        <p:grpSp>
          <p:nvGrpSpPr>
            <p:cNvPr id="4" name="Group 167"/>
            <p:cNvGrpSpPr/>
            <p:nvPr userDrawn="1"/>
          </p:nvGrpSpPr>
          <p:grpSpPr>
            <a:xfrm>
              <a:off x="0" y="1500852"/>
              <a:ext cx="9906001" cy="4400551"/>
              <a:chOff x="0" y="1500852"/>
              <a:chExt cx="9906001" cy="4400551"/>
            </a:xfrm>
          </p:grpSpPr>
          <p:sp>
            <p:nvSpPr>
              <p:cNvPr id="8" name="Freeform 120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" name="Freeform 121"/>
              <p:cNvSpPr>
                <a:spLocks noEditPoints="1"/>
              </p:cNvSpPr>
              <p:nvPr userDrawn="1"/>
            </p:nvSpPr>
            <p:spPr bwMode="auto">
              <a:xfrm>
                <a:off x="8453438" y="3483640"/>
                <a:ext cx="752475" cy="1882775"/>
              </a:xfrm>
              <a:custGeom>
                <a:avLst/>
                <a:gdLst/>
                <a:ahLst/>
                <a:cxnLst>
                  <a:cxn ang="0">
                    <a:pos x="462" y="668"/>
                  </a:cxn>
                  <a:cxn ang="0">
                    <a:pos x="276" y="691"/>
                  </a:cxn>
                  <a:cxn ang="0">
                    <a:pos x="474" y="1186"/>
                  </a:cxn>
                  <a:cxn ang="0">
                    <a:pos x="146" y="709"/>
                  </a:cxn>
                  <a:cxn ang="0">
                    <a:pos x="474" y="1186"/>
                  </a:cxn>
                  <a:cxn ang="0">
                    <a:pos x="462" y="66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6" y="367"/>
                  </a:cxn>
                  <a:cxn ang="0">
                    <a:pos x="458" y="505"/>
                  </a:cxn>
                  <a:cxn ang="0">
                    <a:pos x="456" y="452"/>
                  </a:cxn>
                  <a:cxn ang="0">
                    <a:pos x="448" y="78"/>
                  </a:cxn>
                  <a:cxn ang="0">
                    <a:pos x="0" y="0"/>
                  </a:cxn>
                </a:cxnLst>
                <a:rect l="0" t="0" r="r" b="b"/>
                <a:pathLst>
                  <a:path w="474" h="1186">
                    <a:moveTo>
                      <a:pt x="462" y="668"/>
                    </a:moveTo>
                    <a:lnTo>
                      <a:pt x="276" y="691"/>
                    </a:lnTo>
                    <a:lnTo>
                      <a:pt x="474" y="1186"/>
                    </a:lnTo>
                    <a:lnTo>
                      <a:pt x="146" y="709"/>
                    </a:lnTo>
                    <a:lnTo>
                      <a:pt x="474" y="1186"/>
                    </a:lnTo>
                    <a:lnTo>
                      <a:pt x="462" y="668"/>
                    </a:lnTo>
                    <a:moveTo>
                      <a:pt x="0" y="0"/>
                    </a:moveTo>
                    <a:lnTo>
                      <a:pt x="0" y="0"/>
                    </a:lnTo>
                    <a:lnTo>
                      <a:pt x="146" y="367"/>
                    </a:lnTo>
                    <a:lnTo>
                      <a:pt x="458" y="505"/>
                    </a:lnTo>
                    <a:lnTo>
                      <a:pt x="456" y="452"/>
                    </a:lnTo>
                    <a:lnTo>
                      <a:pt x="448" y="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" name="Freeform 122"/>
              <p:cNvSpPr>
                <a:spLocks/>
              </p:cNvSpPr>
              <p:nvPr userDrawn="1"/>
            </p:nvSpPr>
            <p:spPr bwMode="auto">
              <a:xfrm>
                <a:off x="6716713" y="4609177"/>
                <a:ext cx="2489200" cy="757238"/>
              </a:xfrm>
              <a:custGeom>
                <a:avLst/>
                <a:gdLst/>
                <a:ahLst/>
                <a:cxnLst>
                  <a:cxn ang="0">
                    <a:pos x="1240" y="0"/>
                  </a:cxn>
                  <a:cxn ang="0">
                    <a:pos x="846" y="50"/>
                  </a:cxn>
                  <a:cxn ang="0">
                    <a:pos x="827" y="240"/>
                  </a:cxn>
                  <a:cxn ang="0">
                    <a:pos x="0" y="161"/>
                  </a:cxn>
                  <a:cxn ang="0">
                    <a:pos x="1568" y="477"/>
                  </a:cxn>
                  <a:cxn ang="0">
                    <a:pos x="1240" y="0"/>
                  </a:cxn>
                </a:cxnLst>
                <a:rect l="0" t="0" r="r" b="b"/>
                <a:pathLst>
                  <a:path w="1568" h="477">
                    <a:moveTo>
                      <a:pt x="1240" y="0"/>
                    </a:moveTo>
                    <a:lnTo>
                      <a:pt x="846" y="50"/>
                    </a:lnTo>
                    <a:lnTo>
                      <a:pt x="827" y="240"/>
                    </a:lnTo>
                    <a:lnTo>
                      <a:pt x="0" y="161"/>
                    </a:lnTo>
                    <a:lnTo>
                      <a:pt x="1568" y="477"/>
                    </a:lnTo>
                    <a:lnTo>
                      <a:pt x="124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" name="Freeform 124"/>
              <p:cNvSpPr>
                <a:spLocks/>
              </p:cNvSpPr>
              <p:nvPr userDrawn="1"/>
            </p:nvSpPr>
            <p:spPr bwMode="auto">
              <a:xfrm>
                <a:off x="9183688" y="4486940"/>
                <a:ext cx="446088" cy="57150"/>
              </a:xfrm>
              <a:custGeom>
                <a:avLst/>
                <a:gdLst/>
                <a:ahLst/>
                <a:cxnLst>
                  <a:cxn ang="0">
                    <a:pos x="281" y="0"/>
                  </a:cxn>
                  <a:cxn ang="0">
                    <a:pos x="0" y="10"/>
                  </a:cxn>
                  <a:cxn ang="0">
                    <a:pos x="2" y="36"/>
                  </a:cxn>
                  <a:cxn ang="0">
                    <a:pos x="281" y="0"/>
                  </a:cxn>
                </a:cxnLst>
                <a:rect l="0" t="0" r="r" b="b"/>
                <a:pathLst>
                  <a:path w="281" h="36">
                    <a:moveTo>
                      <a:pt x="281" y="0"/>
                    </a:moveTo>
                    <a:lnTo>
                      <a:pt x="0" y="10"/>
                    </a:lnTo>
                    <a:lnTo>
                      <a:pt x="2" y="36"/>
                    </a:lnTo>
                    <a:lnTo>
                      <a:pt x="281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" name="Freeform 126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" name="Freeform 127"/>
              <p:cNvSpPr>
                <a:spLocks/>
              </p:cNvSpPr>
              <p:nvPr userDrawn="1"/>
            </p:nvSpPr>
            <p:spPr bwMode="auto">
              <a:xfrm>
                <a:off x="8685213" y="4066252"/>
                <a:ext cx="501650" cy="5143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0" y="324"/>
                  </a:cxn>
                  <a:cxn ang="0">
                    <a:pos x="316" y="301"/>
                  </a:cxn>
                  <a:cxn ang="0">
                    <a:pos x="314" y="275"/>
                  </a:cxn>
                  <a:cxn ang="0">
                    <a:pos x="314" y="275"/>
                  </a:cxn>
                  <a:cxn ang="0">
                    <a:pos x="312" y="138"/>
                  </a:cxn>
                  <a:cxn ang="0">
                    <a:pos x="0" y="0"/>
                  </a:cxn>
                </a:cxnLst>
                <a:rect l="0" t="0" r="r" b="b"/>
                <a:pathLst>
                  <a:path w="316" h="324">
                    <a:moveTo>
                      <a:pt x="0" y="0"/>
                    </a:moveTo>
                    <a:lnTo>
                      <a:pt x="130" y="324"/>
                    </a:lnTo>
                    <a:lnTo>
                      <a:pt x="316" y="301"/>
                    </a:lnTo>
                    <a:lnTo>
                      <a:pt x="314" y="275"/>
                    </a:lnTo>
                    <a:lnTo>
                      <a:pt x="314" y="275"/>
                    </a:lnTo>
                    <a:lnTo>
                      <a:pt x="312" y="13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" name="Freeform 128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" name="Freeform 129"/>
              <p:cNvSpPr>
                <a:spLocks/>
              </p:cNvSpPr>
              <p:nvPr userDrawn="1"/>
            </p:nvSpPr>
            <p:spPr bwMode="auto">
              <a:xfrm>
                <a:off x="8059738" y="3823365"/>
                <a:ext cx="625475" cy="865188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0" y="545"/>
                  </a:cxn>
                  <a:cxn ang="0">
                    <a:pos x="394" y="495"/>
                  </a:cxn>
                  <a:cxn ang="0">
                    <a:pos x="56" y="0"/>
                  </a:cxn>
                </a:cxnLst>
                <a:rect l="0" t="0" r="r" b="b"/>
                <a:pathLst>
                  <a:path w="394" h="545">
                    <a:moveTo>
                      <a:pt x="56" y="0"/>
                    </a:moveTo>
                    <a:lnTo>
                      <a:pt x="56" y="0"/>
                    </a:lnTo>
                    <a:lnTo>
                      <a:pt x="0" y="545"/>
                    </a:lnTo>
                    <a:lnTo>
                      <a:pt x="394" y="495"/>
                    </a:lnTo>
                    <a:lnTo>
                      <a:pt x="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0" name="Freeform 130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" name="Freeform 131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132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close/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3" name="Freeform 133"/>
              <p:cNvSpPr>
                <a:spLocks noEditPoints="1"/>
              </p:cNvSpPr>
              <p:nvPr userDrawn="1"/>
            </p:nvSpPr>
            <p:spPr bwMode="auto">
              <a:xfrm>
                <a:off x="8148638" y="3483640"/>
                <a:ext cx="1057275" cy="1882775"/>
              </a:xfrm>
              <a:custGeom>
                <a:avLst/>
                <a:gdLst/>
                <a:ahLst/>
                <a:cxnLst>
                  <a:cxn ang="0">
                    <a:pos x="468" y="691"/>
                  </a:cxn>
                  <a:cxn ang="0">
                    <a:pos x="338" y="709"/>
                  </a:cxn>
                  <a:cxn ang="0">
                    <a:pos x="666" y="1186"/>
                  </a:cxn>
                  <a:cxn ang="0">
                    <a:pos x="468" y="691"/>
                  </a:cxn>
                  <a:cxn ang="0">
                    <a:pos x="192" y="0"/>
                  </a:cxn>
                  <a:cxn ang="0">
                    <a:pos x="0" y="214"/>
                  </a:cxn>
                  <a:cxn ang="0">
                    <a:pos x="338" y="367"/>
                  </a:cxn>
                  <a:cxn ang="0">
                    <a:pos x="192" y="0"/>
                  </a:cxn>
                </a:cxnLst>
                <a:rect l="0" t="0" r="r" b="b"/>
                <a:pathLst>
                  <a:path w="666" h="1186">
                    <a:moveTo>
                      <a:pt x="468" y="691"/>
                    </a:moveTo>
                    <a:lnTo>
                      <a:pt x="338" y="709"/>
                    </a:lnTo>
                    <a:lnTo>
                      <a:pt x="666" y="1186"/>
                    </a:lnTo>
                    <a:lnTo>
                      <a:pt x="468" y="691"/>
                    </a:lnTo>
                    <a:moveTo>
                      <a:pt x="192" y="0"/>
                    </a:moveTo>
                    <a:lnTo>
                      <a:pt x="0" y="214"/>
                    </a:lnTo>
                    <a:lnTo>
                      <a:pt x="338" y="367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" name="Freeform 134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Freeform 135"/>
              <p:cNvSpPr>
                <a:spLocks/>
              </p:cNvSpPr>
              <p:nvPr userDrawn="1"/>
            </p:nvSpPr>
            <p:spPr bwMode="auto">
              <a:xfrm>
                <a:off x="8148638" y="3823365"/>
                <a:ext cx="742950" cy="7858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38" y="495"/>
                  </a:cxn>
                  <a:cxn ang="0">
                    <a:pos x="468" y="477"/>
                  </a:cxn>
                  <a:cxn ang="0">
                    <a:pos x="338" y="153"/>
                  </a:cxn>
                  <a:cxn ang="0">
                    <a:pos x="0" y="0"/>
                  </a:cxn>
                </a:cxnLst>
                <a:rect l="0" t="0" r="r" b="b"/>
                <a:pathLst>
                  <a:path w="468" h="495">
                    <a:moveTo>
                      <a:pt x="0" y="0"/>
                    </a:moveTo>
                    <a:lnTo>
                      <a:pt x="338" y="495"/>
                    </a:lnTo>
                    <a:lnTo>
                      <a:pt x="468" y="477"/>
                    </a:lnTo>
                    <a:lnTo>
                      <a:pt x="338" y="1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" name="Freeform 136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1758950" cy="1770063"/>
              </a:xfrm>
              <a:custGeom>
                <a:avLst/>
                <a:gdLst/>
                <a:ahLst/>
                <a:cxnLst>
                  <a:cxn ang="0">
                    <a:pos x="307" y="729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307" y="729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532" y="444"/>
                  </a:cxn>
                  <a:cxn ang="0">
                    <a:pos x="528" y="448"/>
                  </a:cxn>
                  <a:cxn ang="0">
                    <a:pos x="882" y="1084"/>
                  </a:cxn>
                  <a:cxn ang="0">
                    <a:pos x="884" y="1086"/>
                  </a:cxn>
                  <a:cxn ang="0">
                    <a:pos x="1066" y="935"/>
                  </a:cxn>
                  <a:cxn ang="0">
                    <a:pos x="1108" y="7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281" y="0"/>
                  </a:cxn>
                </a:cxnLst>
                <a:rect l="0" t="0" r="r" b="b"/>
                <a:pathLst>
                  <a:path w="1108" h="1115">
                    <a:moveTo>
                      <a:pt x="307" y="729"/>
                    </a:moveTo>
                    <a:lnTo>
                      <a:pt x="0" y="1115"/>
                    </a:lnTo>
                    <a:lnTo>
                      <a:pt x="307" y="729"/>
                    </a:lnTo>
                    <a:lnTo>
                      <a:pt x="307" y="729"/>
                    </a:lnTo>
                    <a:lnTo>
                      <a:pt x="307" y="729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532" y="444"/>
                    </a:lnTo>
                    <a:lnTo>
                      <a:pt x="528" y="448"/>
                    </a:lnTo>
                    <a:lnTo>
                      <a:pt x="882" y="1084"/>
                    </a:lnTo>
                    <a:lnTo>
                      <a:pt x="884" y="1086"/>
                    </a:lnTo>
                    <a:lnTo>
                      <a:pt x="1066" y="935"/>
                    </a:lnTo>
                    <a:lnTo>
                      <a:pt x="1108" y="715"/>
                    </a:lnTo>
                    <a:lnTo>
                      <a:pt x="281" y="0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281" y="0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rgbClr val="CFB4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" name="Freeform 138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" name="Freeform 139"/>
              <p:cNvSpPr>
                <a:spLocks/>
              </p:cNvSpPr>
              <p:nvPr userDrawn="1"/>
            </p:nvSpPr>
            <p:spPr bwMode="auto">
              <a:xfrm>
                <a:off x="3924300" y="2440652"/>
                <a:ext cx="2046288" cy="17732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15" y="1117"/>
                  </a:cxn>
                  <a:cxn ang="0">
                    <a:pos x="1289" y="580"/>
                  </a:cxn>
                  <a:cxn ang="0">
                    <a:pos x="0" y="0"/>
                  </a:cxn>
                </a:cxnLst>
                <a:rect l="0" t="0" r="r" b="b"/>
                <a:pathLst>
                  <a:path w="1289" h="1117">
                    <a:moveTo>
                      <a:pt x="0" y="0"/>
                    </a:moveTo>
                    <a:lnTo>
                      <a:pt x="0" y="0"/>
                    </a:lnTo>
                    <a:lnTo>
                      <a:pt x="1115" y="1117"/>
                    </a:lnTo>
                    <a:lnTo>
                      <a:pt x="1289" y="58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9" name="Freeform 140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close/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" name="Freeform 141"/>
              <p:cNvSpPr>
                <a:spLocks noEditPoints="1"/>
              </p:cNvSpPr>
              <p:nvPr userDrawn="1"/>
            </p:nvSpPr>
            <p:spPr bwMode="auto">
              <a:xfrm>
                <a:off x="3924300" y="2440652"/>
                <a:ext cx="1770063" cy="2197100"/>
              </a:xfrm>
              <a:custGeom>
                <a:avLst/>
                <a:gdLst/>
                <a:ahLst/>
                <a:cxnLst>
                  <a:cxn ang="0">
                    <a:pos x="185" y="364"/>
                  </a:cxn>
                  <a:cxn ang="0">
                    <a:pos x="711" y="1384"/>
                  </a:cxn>
                  <a:cxn ang="0">
                    <a:pos x="713" y="1382"/>
                  </a:cxn>
                  <a:cxn ang="0">
                    <a:pos x="713" y="1382"/>
                  </a:cxn>
                  <a:cxn ang="0">
                    <a:pos x="185" y="364"/>
                  </a:cxn>
                  <a:cxn ang="0">
                    <a:pos x="0" y="0"/>
                  </a:cxn>
                  <a:cxn ang="0">
                    <a:pos x="1" y="6"/>
                  </a:cxn>
                  <a:cxn ang="0">
                    <a:pos x="1115" y="1117"/>
                  </a:cxn>
                  <a:cxn ang="0">
                    <a:pos x="0" y="0"/>
                  </a:cxn>
                </a:cxnLst>
                <a:rect l="0" t="0" r="r" b="b"/>
                <a:pathLst>
                  <a:path w="1115" h="1384">
                    <a:moveTo>
                      <a:pt x="185" y="364"/>
                    </a:moveTo>
                    <a:lnTo>
                      <a:pt x="711" y="1384"/>
                    </a:lnTo>
                    <a:lnTo>
                      <a:pt x="713" y="1382"/>
                    </a:lnTo>
                    <a:lnTo>
                      <a:pt x="713" y="1382"/>
                    </a:lnTo>
                    <a:lnTo>
                      <a:pt x="185" y="364"/>
                    </a:lnTo>
                    <a:moveTo>
                      <a:pt x="0" y="0"/>
                    </a:moveTo>
                    <a:lnTo>
                      <a:pt x="1" y="6"/>
                    </a:lnTo>
                    <a:lnTo>
                      <a:pt x="1115" y="1117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" name="Freeform 142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61003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" name="Freeform 143"/>
              <p:cNvSpPr>
                <a:spLocks/>
              </p:cNvSpPr>
              <p:nvPr userDrawn="1"/>
            </p:nvSpPr>
            <p:spPr bwMode="auto">
              <a:xfrm>
                <a:off x="5408613" y="4707602"/>
                <a:ext cx="160338" cy="62547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0" y="390"/>
                  </a:cxn>
                  <a:cxn ang="0">
                    <a:pos x="0" y="390"/>
                  </a:cxn>
                  <a:cxn ang="0">
                    <a:pos x="0" y="394"/>
                  </a:cxn>
                  <a:cxn ang="0">
                    <a:pos x="101" y="0"/>
                  </a:cxn>
                  <a:cxn ang="0">
                    <a:pos x="101" y="0"/>
                  </a:cxn>
                </a:cxnLst>
                <a:rect l="0" t="0" r="r" b="b"/>
                <a:pathLst>
                  <a:path w="101" h="394">
                    <a:moveTo>
                      <a:pt x="101" y="0"/>
                    </a:moveTo>
                    <a:lnTo>
                      <a:pt x="0" y="390"/>
                    </a:lnTo>
                    <a:lnTo>
                      <a:pt x="0" y="390"/>
                    </a:lnTo>
                    <a:lnTo>
                      <a:pt x="0" y="394"/>
                    </a:lnTo>
                    <a:lnTo>
                      <a:pt x="101" y="0"/>
                    </a:lnTo>
                    <a:lnTo>
                      <a:pt x="10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" name="Rectangle 144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solidFill>
                <a:srgbClr val="0E000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4" name="Rectangle 145"/>
              <p:cNvSpPr>
                <a:spLocks noChangeArrowheads="1"/>
              </p:cNvSpPr>
              <p:nvPr userDrawn="1"/>
            </p:nvSpPr>
            <p:spPr bwMode="auto">
              <a:xfrm>
                <a:off x="5056188" y="4634577"/>
                <a:ext cx="1588" cy="1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5" name="Freeform 146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close/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close/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6" name="Freeform 147"/>
              <p:cNvSpPr>
                <a:spLocks noEditPoints="1"/>
              </p:cNvSpPr>
              <p:nvPr userDrawn="1"/>
            </p:nvSpPr>
            <p:spPr bwMode="auto">
              <a:xfrm>
                <a:off x="1454150" y="2440652"/>
                <a:ext cx="3598863" cy="2659063"/>
              </a:xfrm>
              <a:custGeom>
                <a:avLst/>
                <a:gdLst/>
                <a:ahLst/>
                <a:cxnLst>
                  <a:cxn ang="0">
                    <a:pos x="549" y="839"/>
                  </a:cxn>
                  <a:cxn ang="0">
                    <a:pos x="0" y="1297"/>
                  </a:cxn>
                  <a:cxn ang="0">
                    <a:pos x="899" y="1475"/>
                  </a:cxn>
                  <a:cxn ang="0">
                    <a:pos x="549" y="839"/>
                  </a:cxn>
                  <a:cxn ang="0">
                    <a:pos x="794" y="634"/>
                  </a:cxn>
                  <a:cxn ang="0">
                    <a:pos x="731" y="687"/>
                  </a:cxn>
                  <a:cxn ang="0">
                    <a:pos x="686" y="925"/>
                  </a:cxn>
                  <a:cxn ang="0">
                    <a:pos x="549" y="838"/>
                  </a:cxn>
                  <a:cxn ang="0">
                    <a:pos x="549" y="838"/>
                  </a:cxn>
                  <a:cxn ang="0">
                    <a:pos x="844" y="1030"/>
                  </a:cxn>
                  <a:cxn ang="0">
                    <a:pos x="794" y="634"/>
                  </a:cxn>
                  <a:cxn ang="0">
                    <a:pos x="1556" y="0"/>
                  </a:cxn>
                  <a:cxn ang="0">
                    <a:pos x="1556" y="0"/>
                  </a:cxn>
                  <a:cxn ang="0">
                    <a:pos x="1039" y="1158"/>
                  </a:cxn>
                  <a:cxn ang="0">
                    <a:pos x="1828" y="1675"/>
                  </a:cxn>
                  <a:cxn ang="0">
                    <a:pos x="1828" y="1675"/>
                  </a:cxn>
                  <a:cxn ang="0">
                    <a:pos x="2267" y="1384"/>
                  </a:cxn>
                  <a:cxn ang="0">
                    <a:pos x="1741" y="364"/>
                  </a:cxn>
                  <a:cxn ang="0">
                    <a:pos x="1556" y="4"/>
                  </a:cxn>
                  <a:cxn ang="0">
                    <a:pos x="1557" y="6"/>
                  </a:cxn>
                  <a:cxn ang="0">
                    <a:pos x="1556" y="0"/>
                  </a:cxn>
                </a:cxnLst>
                <a:rect l="0" t="0" r="r" b="b"/>
                <a:pathLst>
                  <a:path w="2267" h="1675">
                    <a:moveTo>
                      <a:pt x="549" y="839"/>
                    </a:moveTo>
                    <a:lnTo>
                      <a:pt x="0" y="1297"/>
                    </a:lnTo>
                    <a:lnTo>
                      <a:pt x="899" y="1475"/>
                    </a:lnTo>
                    <a:lnTo>
                      <a:pt x="549" y="839"/>
                    </a:lnTo>
                    <a:moveTo>
                      <a:pt x="794" y="634"/>
                    </a:moveTo>
                    <a:lnTo>
                      <a:pt x="731" y="687"/>
                    </a:lnTo>
                    <a:lnTo>
                      <a:pt x="686" y="925"/>
                    </a:lnTo>
                    <a:lnTo>
                      <a:pt x="549" y="838"/>
                    </a:lnTo>
                    <a:lnTo>
                      <a:pt x="549" y="838"/>
                    </a:lnTo>
                    <a:lnTo>
                      <a:pt x="844" y="1030"/>
                    </a:lnTo>
                    <a:lnTo>
                      <a:pt x="794" y="634"/>
                    </a:lnTo>
                    <a:moveTo>
                      <a:pt x="1556" y="0"/>
                    </a:moveTo>
                    <a:lnTo>
                      <a:pt x="1556" y="0"/>
                    </a:lnTo>
                    <a:lnTo>
                      <a:pt x="1039" y="1158"/>
                    </a:lnTo>
                    <a:lnTo>
                      <a:pt x="1828" y="1675"/>
                    </a:lnTo>
                    <a:lnTo>
                      <a:pt x="1828" y="1675"/>
                    </a:lnTo>
                    <a:lnTo>
                      <a:pt x="2267" y="1384"/>
                    </a:lnTo>
                    <a:lnTo>
                      <a:pt x="1741" y="364"/>
                    </a:lnTo>
                    <a:lnTo>
                      <a:pt x="1556" y="4"/>
                    </a:lnTo>
                    <a:lnTo>
                      <a:pt x="1557" y="6"/>
                    </a:lnTo>
                    <a:lnTo>
                      <a:pt x="15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7" name="Freeform 148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8" name="Freeform 149"/>
              <p:cNvSpPr>
                <a:spLocks/>
              </p:cNvSpPr>
              <p:nvPr userDrawn="1"/>
            </p:nvSpPr>
            <p:spPr bwMode="auto">
              <a:xfrm>
                <a:off x="2325688" y="3531265"/>
                <a:ext cx="288925" cy="3778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151"/>
                  </a:cxn>
                  <a:cxn ang="0">
                    <a:pos x="137" y="238"/>
                  </a:cxn>
                  <a:cxn ang="0">
                    <a:pos x="182" y="0"/>
                  </a:cxn>
                </a:cxnLst>
                <a:rect l="0" t="0" r="r" b="b"/>
                <a:pathLst>
                  <a:path w="182" h="238">
                    <a:moveTo>
                      <a:pt x="182" y="0"/>
                    </a:moveTo>
                    <a:lnTo>
                      <a:pt x="0" y="151"/>
                    </a:lnTo>
                    <a:lnTo>
                      <a:pt x="137" y="238"/>
                    </a:lnTo>
                    <a:lnTo>
                      <a:pt x="18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9" name="Freeform 150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4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0" name="Freeform 151"/>
              <p:cNvSpPr>
                <a:spLocks/>
              </p:cNvSpPr>
              <p:nvPr userDrawn="1"/>
            </p:nvSpPr>
            <p:spPr bwMode="auto">
              <a:xfrm>
                <a:off x="982663" y="4499640"/>
                <a:ext cx="1898650" cy="744538"/>
              </a:xfrm>
              <a:custGeom>
                <a:avLst/>
                <a:gdLst/>
                <a:ahLst/>
                <a:cxnLst>
                  <a:cxn ang="0">
                    <a:pos x="297" y="0"/>
                  </a:cxn>
                  <a:cxn ang="0">
                    <a:pos x="0" y="469"/>
                  </a:cxn>
                  <a:cxn ang="0">
                    <a:pos x="1196" y="178"/>
                  </a:cxn>
                  <a:cxn ang="0">
                    <a:pos x="297" y="0"/>
                  </a:cxn>
                </a:cxnLst>
                <a:rect l="0" t="0" r="r" b="b"/>
                <a:pathLst>
                  <a:path w="1196" h="469">
                    <a:moveTo>
                      <a:pt x="297" y="0"/>
                    </a:moveTo>
                    <a:lnTo>
                      <a:pt x="0" y="469"/>
                    </a:lnTo>
                    <a:lnTo>
                      <a:pt x="1196" y="178"/>
                    </a:lnTo>
                    <a:lnTo>
                      <a:pt x="29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1" name="Freeform 152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  <a:close/>
                  </a:path>
                </a:pathLst>
              </a:custGeom>
              <a:gradFill>
                <a:gsLst>
                  <a:gs pos="0">
                    <a:srgbClr val="B58EA2"/>
                  </a:gs>
                  <a:gs pos="100000">
                    <a:srgbClr val="8D516F">
                      <a:alpha val="69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2" name="Freeform 153"/>
              <p:cNvSpPr>
                <a:spLocks/>
              </p:cNvSpPr>
              <p:nvPr userDrawn="1"/>
            </p:nvSpPr>
            <p:spPr bwMode="auto">
              <a:xfrm>
                <a:off x="2681288" y="2440652"/>
                <a:ext cx="1243013" cy="1006475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0" y="467"/>
                  </a:cxn>
                  <a:cxn ang="0">
                    <a:pos x="21" y="6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634">
                    <a:moveTo>
                      <a:pt x="783" y="0"/>
                    </a:moveTo>
                    <a:lnTo>
                      <a:pt x="0" y="467"/>
                    </a:lnTo>
                    <a:lnTo>
                      <a:pt x="21" y="634"/>
                    </a:lnTo>
                    <a:lnTo>
                      <a:pt x="78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3" name="Freeform 154"/>
              <p:cNvSpPr>
                <a:spLocks noEditPoints="1"/>
              </p:cNvSpPr>
              <p:nvPr userDrawn="1"/>
            </p:nvSpPr>
            <p:spPr bwMode="auto">
              <a:xfrm>
                <a:off x="2714625" y="2440652"/>
                <a:ext cx="1209675" cy="2341563"/>
              </a:xfrm>
              <a:custGeom>
                <a:avLst/>
                <a:gdLst/>
                <a:ahLst/>
                <a:cxnLst>
                  <a:cxn ang="0">
                    <a:pos x="105" y="1475"/>
                  </a:cxn>
                  <a:cxn ang="0">
                    <a:pos x="105" y="1475"/>
                  </a:cxn>
                  <a:cxn ang="0">
                    <a:pos x="762" y="0"/>
                  </a:cxn>
                  <a:cxn ang="0">
                    <a:pos x="0" y="634"/>
                  </a:cxn>
                  <a:cxn ang="0">
                    <a:pos x="50" y="1030"/>
                  </a:cxn>
                  <a:cxn ang="0">
                    <a:pos x="245" y="1158"/>
                  </a:cxn>
                  <a:cxn ang="0">
                    <a:pos x="762" y="0"/>
                  </a:cxn>
                </a:cxnLst>
                <a:rect l="0" t="0" r="r" b="b"/>
                <a:pathLst>
                  <a:path w="762" h="1475">
                    <a:moveTo>
                      <a:pt x="105" y="1475"/>
                    </a:moveTo>
                    <a:lnTo>
                      <a:pt x="105" y="1475"/>
                    </a:lnTo>
                    <a:close/>
                    <a:moveTo>
                      <a:pt x="762" y="0"/>
                    </a:moveTo>
                    <a:lnTo>
                      <a:pt x="0" y="634"/>
                    </a:lnTo>
                    <a:lnTo>
                      <a:pt x="50" y="1030"/>
                    </a:lnTo>
                    <a:lnTo>
                      <a:pt x="245" y="1158"/>
                    </a:lnTo>
                    <a:lnTo>
                      <a:pt x="76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23855">
                      <a:alpha val="92000"/>
                    </a:srgbClr>
                  </a:gs>
                  <a:gs pos="100000">
                    <a:srgbClr val="8D516F">
                      <a:alpha val="80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4" name="Freeform 156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chemeClr val="tx2">
                  <a:alpha val="3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5" name="Freeform 157"/>
              <p:cNvSpPr>
                <a:spLocks/>
              </p:cNvSpPr>
              <p:nvPr userDrawn="1"/>
            </p:nvSpPr>
            <p:spPr bwMode="auto">
              <a:xfrm>
                <a:off x="5694363" y="3361402"/>
                <a:ext cx="539750" cy="852488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174" y="0"/>
                  </a:cxn>
                  <a:cxn ang="0">
                    <a:pos x="0" y="537"/>
                  </a:cxn>
                  <a:cxn ang="0">
                    <a:pos x="340" y="333"/>
                  </a:cxn>
                  <a:cxn ang="0">
                    <a:pos x="174" y="0"/>
                  </a:cxn>
                </a:cxnLst>
                <a:rect l="0" t="0" r="r" b="b"/>
                <a:pathLst>
                  <a:path w="340" h="537">
                    <a:moveTo>
                      <a:pt x="174" y="0"/>
                    </a:moveTo>
                    <a:lnTo>
                      <a:pt x="174" y="0"/>
                    </a:lnTo>
                    <a:lnTo>
                      <a:pt x="0" y="537"/>
                    </a:lnTo>
                    <a:lnTo>
                      <a:pt x="340" y="333"/>
                    </a:lnTo>
                    <a:lnTo>
                      <a:pt x="17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6" name="Freeform 158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65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7" name="Freeform 159"/>
              <p:cNvSpPr>
                <a:spLocks/>
              </p:cNvSpPr>
              <p:nvPr userDrawn="1"/>
            </p:nvSpPr>
            <p:spPr bwMode="auto">
              <a:xfrm>
                <a:off x="5694363" y="3890040"/>
                <a:ext cx="649288" cy="323850"/>
              </a:xfrm>
              <a:custGeom>
                <a:avLst/>
                <a:gdLst/>
                <a:ahLst/>
                <a:cxnLst>
                  <a:cxn ang="0">
                    <a:pos x="340" y="0"/>
                  </a:cxn>
                  <a:cxn ang="0">
                    <a:pos x="0" y="204"/>
                  </a:cxn>
                  <a:cxn ang="0">
                    <a:pos x="409" y="138"/>
                  </a:cxn>
                  <a:cxn ang="0">
                    <a:pos x="340" y="0"/>
                  </a:cxn>
                </a:cxnLst>
                <a:rect l="0" t="0" r="r" b="b"/>
                <a:pathLst>
                  <a:path w="409" h="204">
                    <a:moveTo>
                      <a:pt x="340" y="0"/>
                    </a:moveTo>
                    <a:lnTo>
                      <a:pt x="0" y="204"/>
                    </a:lnTo>
                    <a:lnTo>
                      <a:pt x="409" y="138"/>
                    </a:lnTo>
                    <a:lnTo>
                      <a:pt x="34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8" name="Freeform 160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31000">
                    <a:srgbClr val="77445E">
                      <a:alpha val="90000"/>
                    </a:srgbClr>
                  </a:gs>
                  <a:gs pos="65000">
                    <a:schemeClr val="accent2">
                      <a:alpha val="40000"/>
                    </a:scheme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9" name="Freeform 161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147763" cy="650875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79" y="0"/>
                  </a:cxn>
                  <a:cxn ang="0">
                    <a:pos x="0" y="311"/>
                  </a:cxn>
                  <a:cxn ang="0">
                    <a:pos x="723" y="410"/>
                  </a:cxn>
                  <a:cxn ang="0">
                    <a:pos x="79" y="0"/>
                  </a:cxn>
                </a:cxnLst>
                <a:rect l="0" t="0" r="r" b="b"/>
                <a:pathLst>
                  <a:path w="723" h="410">
                    <a:moveTo>
                      <a:pt x="79" y="0"/>
                    </a:moveTo>
                    <a:lnTo>
                      <a:pt x="79" y="0"/>
                    </a:lnTo>
                    <a:lnTo>
                      <a:pt x="0" y="311"/>
                    </a:lnTo>
                    <a:lnTo>
                      <a:pt x="723" y="410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0" name="Freeform 162"/>
              <p:cNvSpPr>
                <a:spLocks/>
              </p:cNvSpPr>
              <p:nvPr userDrawn="1"/>
            </p:nvSpPr>
            <p:spPr bwMode="auto">
              <a:xfrm>
                <a:off x="3925888" y="2450177"/>
                <a:ext cx="1768475" cy="21844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4" y="358"/>
                  </a:cxn>
                  <a:cxn ang="0">
                    <a:pos x="712" y="1376"/>
                  </a:cxn>
                  <a:cxn ang="0">
                    <a:pos x="1114" y="1111"/>
                  </a:cxn>
                  <a:cxn ang="0">
                    <a:pos x="0" y="0"/>
                  </a:cxn>
                </a:cxnLst>
                <a:rect l="0" t="0" r="r" b="b"/>
                <a:pathLst>
                  <a:path w="1114" h="1376">
                    <a:moveTo>
                      <a:pt x="0" y="0"/>
                    </a:moveTo>
                    <a:lnTo>
                      <a:pt x="184" y="358"/>
                    </a:lnTo>
                    <a:lnTo>
                      <a:pt x="712" y="1376"/>
                    </a:lnTo>
                    <a:lnTo>
                      <a:pt x="1114" y="1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1" name="Freeform 164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2" name="Freeform 165"/>
              <p:cNvSpPr>
                <a:spLocks/>
              </p:cNvSpPr>
              <p:nvPr userDrawn="1"/>
            </p:nvSpPr>
            <p:spPr bwMode="auto">
              <a:xfrm>
                <a:off x="5568950" y="4213890"/>
                <a:ext cx="125413" cy="4937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311"/>
                  </a:cxn>
                  <a:cxn ang="0">
                    <a:pos x="0" y="311"/>
                  </a:cxn>
                  <a:cxn ang="0">
                    <a:pos x="79" y="0"/>
                  </a:cxn>
                </a:cxnLst>
                <a:rect l="0" t="0" r="r" b="b"/>
                <a:pathLst>
                  <a:path w="79" h="311">
                    <a:moveTo>
                      <a:pt x="79" y="0"/>
                    </a:moveTo>
                    <a:lnTo>
                      <a:pt x="0" y="311"/>
                    </a:lnTo>
                    <a:lnTo>
                      <a:pt x="0" y="311"/>
                    </a:lnTo>
                    <a:lnTo>
                      <a:pt x="7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166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rgbClr val="05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167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20688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0" y="265"/>
                  </a:cxn>
                  <a:cxn ang="0">
                    <a:pos x="402" y="0"/>
                  </a:cxn>
                </a:cxnLst>
                <a:rect l="0" t="0" r="r" b="b"/>
                <a:pathLst>
                  <a:path w="402" h="265">
                    <a:moveTo>
                      <a:pt x="402" y="0"/>
                    </a:moveTo>
                    <a:lnTo>
                      <a:pt x="0" y="265"/>
                    </a:lnTo>
                    <a:lnTo>
                      <a:pt x="0" y="265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5" name="Freeform 170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56000"/>
                    </a:srgbClr>
                  </a:gs>
                </a:gsLst>
                <a:lin ang="3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6" name="Freeform 171"/>
              <p:cNvSpPr>
                <a:spLocks/>
              </p:cNvSpPr>
              <p:nvPr userDrawn="1"/>
            </p:nvSpPr>
            <p:spPr bwMode="auto">
              <a:xfrm>
                <a:off x="5970588" y="3361402"/>
                <a:ext cx="950913" cy="528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6" y="333"/>
                  </a:cxn>
                  <a:cxn ang="0">
                    <a:pos x="599" y="73"/>
                  </a:cxn>
                  <a:cxn ang="0">
                    <a:pos x="0" y="0"/>
                  </a:cxn>
                </a:cxnLst>
                <a:rect l="0" t="0" r="r" b="b"/>
                <a:pathLst>
                  <a:path w="599" h="333">
                    <a:moveTo>
                      <a:pt x="0" y="0"/>
                    </a:moveTo>
                    <a:lnTo>
                      <a:pt x="166" y="333"/>
                    </a:lnTo>
                    <a:lnTo>
                      <a:pt x="599" y="7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172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8D516F">
                      <a:alpha val="75000"/>
                    </a:srgbClr>
                  </a:gs>
                </a:gsLst>
                <a:lin ang="138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173"/>
              <p:cNvSpPr>
                <a:spLocks/>
              </p:cNvSpPr>
              <p:nvPr userDrawn="1"/>
            </p:nvSpPr>
            <p:spPr bwMode="auto">
              <a:xfrm>
                <a:off x="6234113" y="3477290"/>
                <a:ext cx="687388" cy="631825"/>
              </a:xfrm>
              <a:custGeom>
                <a:avLst/>
                <a:gdLst/>
                <a:ahLst/>
                <a:cxnLst>
                  <a:cxn ang="0">
                    <a:pos x="433" y="0"/>
                  </a:cxn>
                  <a:cxn ang="0">
                    <a:pos x="0" y="260"/>
                  </a:cxn>
                  <a:cxn ang="0">
                    <a:pos x="69" y="398"/>
                  </a:cxn>
                  <a:cxn ang="0">
                    <a:pos x="381" y="349"/>
                  </a:cxn>
                  <a:cxn ang="0">
                    <a:pos x="433" y="0"/>
                  </a:cxn>
                </a:cxnLst>
                <a:rect l="0" t="0" r="r" b="b"/>
                <a:pathLst>
                  <a:path w="433" h="398">
                    <a:moveTo>
                      <a:pt x="433" y="0"/>
                    </a:moveTo>
                    <a:lnTo>
                      <a:pt x="0" y="260"/>
                    </a:lnTo>
                    <a:lnTo>
                      <a:pt x="69" y="398"/>
                    </a:lnTo>
                    <a:lnTo>
                      <a:pt x="381" y="349"/>
                    </a:lnTo>
                    <a:lnTo>
                      <a:pt x="4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174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close/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81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175"/>
              <p:cNvSpPr>
                <a:spLocks noEditPoints="1"/>
              </p:cNvSpPr>
              <p:nvPr userDrawn="1"/>
            </p:nvSpPr>
            <p:spPr bwMode="auto">
              <a:xfrm>
                <a:off x="6838950" y="1792952"/>
                <a:ext cx="1358900" cy="2238375"/>
              </a:xfrm>
              <a:custGeom>
                <a:avLst/>
                <a:gdLst/>
                <a:ahLst/>
                <a:cxnLst>
                  <a:cxn ang="0">
                    <a:pos x="566" y="986"/>
                  </a:cxn>
                  <a:cxn ang="0">
                    <a:pos x="52" y="1061"/>
                  </a:cxn>
                  <a:cxn ang="0">
                    <a:pos x="0" y="1410"/>
                  </a:cxn>
                  <a:cxn ang="0">
                    <a:pos x="311" y="1362"/>
                  </a:cxn>
                  <a:cxn ang="0">
                    <a:pos x="566" y="986"/>
                  </a:cxn>
                  <a:cxn ang="0">
                    <a:pos x="856" y="0"/>
                  </a:cxn>
                  <a:cxn ang="0">
                    <a:pos x="109" y="986"/>
                  </a:cxn>
                  <a:cxn ang="0">
                    <a:pos x="186" y="986"/>
                  </a:cxn>
                  <a:cxn ang="0">
                    <a:pos x="641" y="731"/>
                  </a:cxn>
                  <a:cxn ang="0">
                    <a:pos x="856" y="0"/>
                  </a:cxn>
                </a:cxnLst>
                <a:rect l="0" t="0" r="r" b="b"/>
                <a:pathLst>
                  <a:path w="856" h="1410">
                    <a:moveTo>
                      <a:pt x="566" y="986"/>
                    </a:moveTo>
                    <a:lnTo>
                      <a:pt x="52" y="1061"/>
                    </a:lnTo>
                    <a:lnTo>
                      <a:pt x="0" y="1410"/>
                    </a:lnTo>
                    <a:lnTo>
                      <a:pt x="311" y="1362"/>
                    </a:lnTo>
                    <a:lnTo>
                      <a:pt x="566" y="986"/>
                    </a:lnTo>
                    <a:moveTo>
                      <a:pt x="856" y="0"/>
                    </a:moveTo>
                    <a:lnTo>
                      <a:pt x="109" y="986"/>
                    </a:lnTo>
                    <a:lnTo>
                      <a:pt x="186" y="986"/>
                    </a:lnTo>
                    <a:lnTo>
                      <a:pt x="641" y="731"/>
                    </a:lnTo>
                    <a:lnTo>
                      <a:pt x="8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176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177"/>
              <p:cNvSpPr>
                <a:spLocks/>
              </p:cNvSpPr>
              <p:nvPr userDrawn="1"/>
            </p:nvSpPr>
            <p:spPr bwMode="auto">
              <a:xfrm>
                <a:off x="5970588" y="3358227"/>
                <a:ext cx="1041400" cy="119063"/>
              </a:xfrm>
              <a:custGeom>
                <a:avLst/>
                <a:gdLst/>
                <a:ahLst/>
                <a:cxnLst>
                  <a:cxn ang="0">
                    <a:pos x="656" y="0"/>
                  </a:cxn>
                  <a:cxn ang="0">
                    <a:pos x="0" y="2"/>
                  </a:cxn>
                  <a:cxn ang="0">
                    <a:pos x="599" y="75"/>
                  </a:cxn>
                  <a:cxn ang="0">
                    <a:pos x="656" y="0"/>
                  </a:cxn>
                </a:cxnLst>
                <a:rect l="0" t="0" r="r" b="b"/>
                <a:pathLst>
                  <a:path w="656" h="75">
                    <a:moveTo>
                      <a:pt x="656" y="0"/>
                    </a:moveTo>
                    <a:lnTo>
                      <a:pt x="0" y="2"/>
                    </a:lnTo>
                    <a:lnTo>
                      <a:pt x="599" y="75"/>
                    </a:lnTo>
                    <a:lnTo>
                      <a:pt x="65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178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514" y="0"/>
                  </a:cxn>
                  <a:cxn ang="0">
                    <a:pos x="0" y="75"/>
                  </a:cxn>
                  <a:cxn ang="0">
                    <a:pos x="134" y="0"/>
                  </a:cxn>
                  <a:cxn ang="0">
                    <a:pos x="57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514" y="0"/>
                    </a:lnTo>
                    <a:lnTo>
                      <a:pt x="0" y="75"/>
                    </a:lnTo>
                    <a:lnTo>
                      <a:pt x="134" y="0"/>
                    </a:lnTo>
                    <a:lnTo>
                      <a:pt x="57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180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  <a:close/>
                  </a:path>
                </a:pathLst>
              </a:custGeom>
              <a:gradFill flip="none" rotWithShape="1">
                <a:gsLst>
                  <a:gs pos="59000">
                    <a:srgbClr val="77445E">
                      <a:alpha val="80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181"/>
              <p:cNvSpPr>
                <a:spLocks/>
              </p:cNvSpPr>
              <p:nvPr userDrawn="1"/>
            </p:nvSpPr>
            <p:spPr bwMode="auto">
              <a:xfrm>
                <a:off x="7332663" y="3358227"/>
                <a:ext cx="815975" cy="596900"/>
              </a:xfrm>
              <a:custGeom>
                <a:avLst/>
                <a:gdLst/>
                <a:ahLst/>
                <a:cxnLst>
                  <a:cxn ang="0">
                    <a:pos x="255" y="0"/>
                  </a:cxn>
                  <a:cxn ang="0">
                    <a:pos x="0" y="376"/>
                  </a:cxn>
                  <a:cxn ang="0">
                    <a:pos x="514" y="293"/>
                  </a:cxn>
                  <a:cxn ang="0">
                    <a:pos x="255" y="0"/>
                  </a:cxn>
                </a:cxnLst>
                <a:rect l="0" t="0" r="r" b="b"/>
                <a:pathLst>
                  <a:path w="514" h="376">
                    <a:moveTo>
                      <a:pt x="255" y="0"/>
                    </a:moveTo>
                    <a:lnTo>
                      <a:pt x="0" y="376"/>
                    </a:lnTo>
                    <a:lnTo>
                      <a:pt x="514" y="293"/>
                    </a:lnTo>
                    <a:lnTo>
                      <a:pt x="2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6" name="Freeform 182"/>
              <p:cNvSpPr>
                <a:spLocks/>
              </p:cNvSpPr>
              <p:nvPr userDrawn="1"/>
            </p:nvSpPr>
            <p:spPr bwMode="auto">
              <a:xfrm>
                <a:off x="8197850" y="1500852"/>
                <a:ext cx="873125" cy="292100"/>
              </a:xfrm>
              <a:custGeom>
                <a:avLst/>
                <a:gdLst/>
                <a:ahLst/>
                <a:cxnLst>
                  <a:cxn ang="0">
                    <a:pos x="447" y="0"/>
                  </a:cxn>
                  <a:cxn ang="0">
                    <a:pos x="0" y="184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550" y="172"/>
                  </a:cxn>
                  <a:cxn ang="0">
                    <a:pos x="447" y="0"/>
                  </a:cxn>
                </a:cxnLst>
                <a:rect l="0" t="0" r="r" b="b"/>
                <a:pathLst>
                  <a:path w="550" h="184">
                    <a:moveTo>
                      <a:pt x="447" y="0"/>
                    </a:moveTo>
                    <a:lnTo>
                      <a:pt x="0" y="184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550" y="172"/>
                    </a:lnTo>
                    <a:lnTo>
                      <a:pt x="447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7" name="Freeform 184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8" name="Freeform 185"/>
              <p:cNvSpPr>
                <a:spLocks/>
              </p:cNvSpPr>
              <p:nvPr userDrawn="1"/>
            </p:nvSpPr>
            <p:spPr bwMode="auto">
              <a:xfrm>
                <a:off x="5694363" y="4109115"/>
                <a:ext cx="1022350" cy="755650"/>
              </a:xfrm>
              <a:custGeom>
                <a:avLst/>
                <a:gdLst/>
                <a:ahLst/>
                <a:cxnLst>
                  <a:cxn ang="0">
                    <a:pos x="409" y="0"/>
                  </a:cxn>
                  <a:cxn ang="0">
                    <a:pos x="0" y="66"/>
                  </a:cxn>
                  <a:cxn ang="0">
                    <a:pos x="644" y="476"/>
                  </a:cxn>
                  <a:cxn ang="0">
                    <a:pos x="409" y="0"/>
                  </a:cxn>
                </a:cxnLst>
                <a:rect l="0" t="0" r="r" b="b"/>
                <a:pathLst>
                  <a:path w="644" h="476">
                    <a:moveTo>
                      <a:pt x="409" y="0"/>
                    </a:moveTo>
                    <a:lnTo>
                      <a:pt x="0" y="66"/>
                    </a:lnTo>
                    <a:lnTo>
                      <a:pt x="644" y="476"/>
                    </a:lnTo>
                    <a:lnTo>
                      <a:pt x="40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9" name="Freeform 186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78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0" name="Freeform 187"/>
              <p:cNvSpPr>
                <a:spLocks/>
              </p:cNvSpPr>
              <p:nvPr userDrawn="1"/>
            </p:nvSpPr>
            <p:spPr bwMode="auto">
              <a:xfrm>
                <a:off x="6343650" y="4031327"/>
                <a:ext cx="495300" cy="833438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0" y="49"/>
                  </a:cxn>
                  <a:cxn ang="0">
                    <a:pos x="235" y="525"/>
                  </a:cxn>
                  <a:cxn ang="0">
                    <a:pos x="312" y="0"/>
                  </a:cxn>
                </a:cxnLst>
                <a:rect l="0" t="0" r="r" b="b"/>
                <a:pathLst>
                  <a:path w="312" h="525">
                    <a:moveTo>
                      <a:pt x="312" y="0"/>
                    </a:moveTo>
                    <a:lnTo>
                      <a:pt x="0" y="49"/>
                    </a:lnTo>
                    <a:lnTo>
                      <a:pt x="235" y="525"/>
                    </a:lnTo>
                    <a:lnTo>
                      <a:pt x="31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1" name="Freeform 188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/>
                  </a:gs>
                  <a:gs pos="100000">
                    <a:srgbClr val="65394F"/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2" name="Freeform 189"/>
              <p:cNvSpPr>
                <a:spLocks/>
              </p:cNvSpPr>
              <p:nvPr userDrawn="1"/>
            </p:nvSpPr>
            <p:spPr bwMode="auto">
              <a:xfrm>
                <a:off x="6716713" y="3955127"/>
                <a:ext cx="615950" cy="909638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77" y="48"/>
                  </a:cxn>
                  <a:cxn ang="0">
                    <a:pos x="0" y="573"/>
                  </a:cxn>
                  <a:cxn ang="0">
                    <a:pos x="388" y="0"/>
                  </a:cxn>
                </a:cxnLst>
                <a:rect l="0" t="0" r="r" b="b"/>
                <a:pathLst>
                  <a:path w="388" h="573">
                    <a:moveTo>
                      <a:pt x="388" y="0"/>
                    </a:moveTo>
                    <a:lnTo>
                      <a:pt x="77" y="48"/>
                    </a:lnTo>
                    <a:lnTo>
                      <a:pt x="0" y="573"/>
                    </a:lnTo>
                    <a:lnTo>
                      <a:pt x="388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3" name="Freeform 190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/>
                  </a:gs>
                  <a:gs pos="100000">
                    <a:srgbClr val="65394F">
                      <a:alpha val="85000"/>
                    </a:srgbClr>
                  </a:gs>
                </a:gsLst>
                <a:lin ang="1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4" name="Freeform 191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388" y="83"/>
                  </a:cxn>
                  <a:cxn ang="0">
                    <a:pos x="0" y="656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388" y="83"/>
                    </a:lnTo>
                    <a:lnTo>
                      <a:pt x="0" y="656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5" name="Freeform 192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6" name="Freeform 193"/>
              <p:cNvSpPr>
                <a:spLocks/>
              </p:cNvSpPr>
              <p:nvPr userDrawn="1"/>
            </p:nvSpPr>
            <p:spPr bwMode="auto">
              <a:xfrm>
                <a:off x="6716713" y="4688552"/>
                <a:ext cx="1343025" cy="301625"/>
              </a:xfrm>
              <a:custGeom>
                <a:avLst/>
                <a:gdLst/>
                <a:ahLst/>
                <a:cxnLst>
                  <a:cxn ang="0">
                    <a:pos x="846" y="0"/>
                  </a:cxn>
                  <a:cxn ang="0">
                    <a:pos x="0" y="111"/>
                  </a:cxn>
                  <a:cxn ang="0">
                    <a:pos x="827" y="190"/>
                  </a:cxn>
                  <a:cxn ang="0">
                    <a:pos x="846" y="0"/>
                  </a:cxn>
                </a:cxnLst>
                <a:rect l="0" t="0" r="r" b="b"/>
                <a:pathLst>
                  <a:path w="846" h="190">
                    <a:moveTo>
                      <a:pt x="846" y="0"/>
                    </a:moveTo>
                    <a:lnTo>
                      <a:pt x="0" y="111"/>
                    </a:lnTo>
                    <a:lnTo>
                      <a:pt x="827" y="190"/>
                    </a:lnTo>
                    <a:lnTo>
                      <a:pt x="846" y="0"/>
                    </a:lnTo>
                  </a:path>
                </a:pathLst>
              </a:custGeom>
              <a:gradFill>
                <a:gsLst>
                  <a:gs pos="0">
                    <a:srgbClr val="65394F">
                      <a:alpha val="58000"/>
                    </a:srgbClr>
                  </a:gs>
                  <a:gs pos="42000">
                    <a:srgbClr val="8D516F">
                      <a:alpha val="45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7" name="Freeform 194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75000"/>
                    </a:srgbClr>
                  </a:gs>
                  <a:gs pos="100000">
                    <a:srgbClr val="65394F">
                      <a:alpha val="76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8" name="Freeform 195"/>
              <p:cNvSpPr>
                <a:spLocks/>
              </p:cNvSpPr>
              <p:nvPr userDrawn="1"/>
            </p:nvSpPr>
            <p:spPr bwMode="auto">
              <a:xfrm>
                <a:off x="6716713" y="3823365"/>
                <a:ext cx="1431925" cy="1041400"/>
              </a:xfrm>
              <a:custGeom>
                <a:avLst/>
                <a:gdLst/>
                <a:ahLst/>
                <a:cxnLst>
                  <a:cxn ang="0">
                    <a:pos x="902" y="0"/>
                  </a:cxn>
                  <a:cxn ang="0">
                    <a:pos x="0" y="656"/>
                  </a:cxn>
                  <a:cxn ang="0">
                    <a:pos x="846" y="545"/>
                  </a:cxn>
                  <a:cxn ang="0">
                    <a:pos x="902" y="0"/>
                  </a:cxn>
                </a:cxnLst>
                <a:rect l="0" t="0" r="r" b="b"/>
                <a:pathLst>
                  <a:path w="902" h="656">
                    <a:moveTo>
                      <a:pt x="902" y="0"/>
                    </a:moveTo>
                    <a:lnTo>
                      <a:pt x="0" y="656"/>
                    </a:lnTo>
                    <a:lnTo>
                      <a:pt x="846" y="545"/>
                    </a:lnTo>
                    <a:lnTo>
                      <a:pt x="9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9" name="Freeform 196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0" name="Freeform 197"/>
              <p:cNvSpPr>
                <a:spLocks/>
              </p:cNvSpPr>
              <p:nvPr userDrawn="1"/>
            </p:nvSpPr>
            <p:spPr bwMode="auto">
              <a:xfrm>
                <a:off x="363538" y="4217065"/>
                <a:ext cx="1090613" cy="1027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90" y="647"/>
                  </a:cxn>
                  <a:cxn ang="0">
                    <a:pos x="687" y="178"/>
                  </a:cxn>
                  <a:cxn ang="0">
                    <a:pos x="0" y="0"/>
                  </a:cxn>
                </a:cxnLst>
                <a:rect l="0" t="0" r="r" b="b"/>
                <a:pathLst>
                  <a:path w="687" h="647">
                    <a:moveTo>
                      <a:pt x="0" y="0"/>
                    </a:moveTo>
                    <a:lnTo>
                      <a:pt x="390" y="647"/>
                    </a:lnTo>
                    <a:lnTo>
                      <a:pt x="687" y="17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1" name="Freeform 200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26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2" name="Freeform 201"/>
              <p:cNvSpPr>
                <a:spLocks/>
              </p:cNvSpPr>
              <p:nvPr userDrawn="1"/>
            </p:nvSpPr>
            <p:spPr bwMode="auto">
              <a:xfrm>
                <a:off x="363538" y="2046952"/>
                <a:ext cx="1004888" cy="2170113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1367"/>
                  </a:cxn>
                  <a:cxn ang="0">
                    <a:pos x="352" y="1115"/>
                  </a:cxn>
                  <a:cxn ang="0">
                    <a:pos x="633" y="0"/>
                  </a:cxn>
                </a:cxnLst>
                <a:rect l="0" t="0" r="r" b="b"/>
                <a:pathLst>
                  <a:path w="633" h="1367">
                    <a:moveTo>
                      <a:pt x="633" y="0"/>
                    </a:moveTo>
                    <a:lnTo>
                      <a:pt x="0" y="1367"/>
                    </a:lnTo>
                    <a:lnTo>
                      <a:pt x="352" y="1115"/>
                    </a:lnTo>
                    <a:lnTo>
                      <a:pt x="63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3" name="Freeform 202"/>
              <p:cNvSpPr>
                <a:spLocks noEditPoints="1"/>
              </p:cNvSpPr>
              <p:nvPr userDrawn="1"/>
            </p:nvSpPr>
            <p:spPr bwMode="auto">
              <a:xfrm>
                <a:off x="922338" y="2046952"/>
                <a:ext cx="487363" cy="1770063"/>
              </a:xfrm>
              <a:custGeom>
                <a:avLst/>
                <a:gdLst/>
                <a:ahLst/>
                <a:cxnLst>
                  <a:cxn ang="0">
                    <a:pos x="0" y="1115"/>
                  </a:cxn>
                  <a:cxn ang="0">
                    <a:pos x="0" y="1115"/>
                  </a:cxn>
                  <a:cxn ang="0">
                    <a:pos x="281" y="0"/>
                  </a:cxn>
                  <a:cxn ang="0">
                    <a:pos x="281" y="0"/>
                  </a:cxn>
                  <a:cxn ang="0">
                    <a:pos x="0" y="1115"/>
                  </a:cxn>
                  <a:cxn ang="0">
                    <a:pos x="307" y="729"/>
                  </a:cxn>
                  <a:cxn ang="0">
                    <a:pos x="281" y="0"/>
                  </a:cxn>
                </a:cxnLst>
                <a:rect l="0" t="0" r="r" b="b"/>
                <a:pathLst>
                  <a:path w="307" h="1115">
                    <a:moveTo>
                      <a:pt x="0" y="1115"/>
                    </a:moveTo>
                    <a:lnTo>
                      <a:pt x="0" y="1115"/>
                    </a:lnTo>
                    <a:close/>
                    <a:moveTo>
                      <a:pt x="281" y="0"/>
                    </a:moveTo>
                    <a:lnTo>
                      <a:pt x="281" y="0"/>
                    </a:lnTo>
                    <a:lnTo>
                      <a:pt x="0" y="1115"/>
                    </a:lnTo>
                    <a:lnTo>
                      <a:pt x="307" y="729"/>
                    </a:lnTo>
                    <a:lnTo>
                      <a:pt x="281" y="0"/>
                    </a:lnTo>
                    <a:close/>
                  </a:path>
                </a:pathLst>
              </a:custGeom>
              <a:solidFill>
                <a:schemeClr val="accent2">
                  <a:alpha val="9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4" name="Freeform 204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D6182">
                      <a:alpha val="59000"/>
                    </a:srgbClr>
                  </a:gs>
                  <a:gs pos="100000">
                    <a:srgbClr val="B58EA2">
                      <a:alpha val="53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5" name="Freeform 205"/>
              <p:cNvSpPr>
                <a:spLocks/>
              </p:cNvSpPr>
              <p:nvPr userDrawn="1"/>
            </p:nvSpPr>
            <p:spPr bwMode="auto">
              <a:xfrm>
                <a:off x="1409700" y="3204240"/>
                <a:ext cx="912813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382"/>
                  </a:cxn>
                  <a:cxn ang="0">
                    <a:pos x="575" y="355"/>
                  </a:cxn>
                  <a:cxn ang="0">
                    <a:pos x="0" y="0"/>
                  </a:cxn>
                </a:cxnLst>
                <a:rect l="0" t="0" r="r" b="b"/>
                <a:pathLst>
                  <a:path w="575" h="382">
                    <a:moveTo>
                      <a:pt x="0" y="0"/>
                    </a:moveTo>
                    <a:lnTo>
                      <a:pt x="14" y="382"/>
                    </a:lnTo>
                    <a:lnTo>
                      <a:pt x="575" y="355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6" name="Freeform 206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7" name="Freeform 207"/>
              <p:cNvSpPr>
                <a:spLocks/>
              </p:cNvSpPr>
              <p:nvPr userDrawn="1"/>
            </p:nvSpPr>
            <p:spPr bwMode="auto">
              <a:xfrm>
                <a:off x="1409700" y="2758152"/>
                <a:ext cx="912813" cy="1009650"/>
              </a:xfrm>
              <a:custGeom>
                <a:avLst/>
                <a:gdLst/>
                <a:ahLst/>
                <a:cxnLst>
                  <a:cxn ang="0">
                    <a:pos x="221" y="0"/>
                  </a:cxn>
                  <a:cxn ang="0">
                    <a:pos x="0" y="281"/>
                  </a:cxn>
                  <a:cxn ang="0">
                    <a:pos x="0" y="281"/>
                  </a:cxn>
                  <a:cxn ang="0">
                    <a:pos x="575" y="636"/>
                  </a:cxn>
                  <a:cxn ang="0">
                    <a:pos x="221" y="0"/>
                  </a:cxn>
                </a:cxnLst>
                <a:rect l="0" t="0" r="r" b="b"/>
                <a:pathLst>
                  <a:path w="575" h="636">
                    <a:moveTo>
                      <a:pt x="221" y="0"/>
                    </a:moveTo>
                    <a:lnTo>
                      <a:pt x="0" y="281"/>
                    </a:lnTo>
                    <a:lnTo>
                      <a:pt x="0" y="281"/>
                    </a:lnTo>
                    <a:lnTo>
                      <a:pt x="575" y="636"/>
                    </a:lnTo>
                    <a:lnTo>
                      <a:pt x="221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8" name="Freeform 208"/>
              <p:cNvSpPr>
                <a:spLocks noEditPoints="1"/>
              </p:cNvSpPr>
              <p:nvPr userDrawn="1"/>
            </p:nvSpPr>
            <p:spPr bwMode="auto">
              <a:xfrm>
                <a:off x="1368425" y="2046952"/>
                <a:ext cx="392113" cy="1157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6" y="729"/>
                  </a:cxn>
                  <a:cxn ang="0">
                    <a:pos x="247" y="4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47" h="729">
                    <a:moveTo>
                      <a:pt x="0" y="0"/>
                    </a:moveTo>
                    <a:lnTo>
                      <a:pt x="0" y="0"/>
                    </a:lnTo>
                    <a:lnTo>
                      <a:pt x="26" y="729"/>
                    </a:lnTo>
                    <a:lnTo>
                      <a:pt x="247" y="4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9" name="Freeform 210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0">
                    <a:schemeClr val="tx2">
                      <a:alpha val="57000"/>
                    </a:scheme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0" name="Freeform 211"/>
              <p:cNvSpPr>
                <a:spLocks/>
              </p:cNvSpPr>
              <p:nvPr userDrawn="1"/>
            </p:nvSpPr>
            <p:spPr bwMode="auto">
              <a:xfrm>
                <a:off x="363538" y="3817015"/>
                <a:ext cx="1090613" cy="682625"/>
              </a:xfrm>
              <a:custGeom>
                <a:avLst/>
                <a:gdLst/>
                <a:ahLst/>
                <a:cxnLst>
                  <a:cxn ang="0">
                    <a:pos x="352" y="0"/>
                  </a:cxn>
                  <a:cxn ang="0">
                    <a:pos x="352" y="0"/>
                  </a:cxn>
                  <a:cxn ang="0">
                    <a:pos x="0" y="252"/>
                  </a:cxn>
                  <a:cxn ang="0">
                    <a:pos x="687" y="430"/>
                  </a:cxn>
                  <a:cxn ang="0">
                    <a:pos x="352" y="0"/>
                  </a:cxn>
                </a:cxnLst>
                <a:rect l="0" t="0" r="r" b="b"/>
                <a:pathLst>
                  <a:path w="687" h="430">
                    <a:moveTo>
                      <a:pt x="352" y="0"/>
                    </a:moveTo>
                    <a:lnTo>
                      <a:pt x="352" y="0"/>
                    </a:lnTo>
                    <a:lnTo>
                      <a:pt x="0" y="252"/>
                    </a:lnTo>
                    <a:lnTo>
                      <a:pt x="687" y="430"/>
                    </a:lnTo>
                    <a:lnTo>
                      <a:pt x="35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1" name="Freeform 212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2" name="Freeform 213"/>
              <p:cNvSpPr>
                <a:spLocks/>
              </p:cNvSpPr>
              <p:nvPr userDrawn="1"/>
            </p:nvSpPr>
            <p:spPr bwMode="auto">
              <a:xfrm>
                <a:off x="922338" y="3204240"/>
                <a:ext cx="531813" cy="1295400"/>
              </a:xfrm>
              <a:custGeom>
                <a:avLst/>
                <a:gdLst/>
                <a:ahLst/>
                <a:cxnLst>
                  <a:cxn ang="0">
                    <a:pos x="307" y="0"/>
                  </a:cxn>
                  <a:cxn ang="0">
                    <a:pos x="0" y="386"/>
                  </a:cxn>
                  <a:cxn ang="0">
                    <a:pos x="335" y="816"/>
                  </a:cxn>
                  <a:cxn ang="0">
                    <a:pos x="307" y="0"/>
                  </a:cxn>
                </a:cxnLst>
                <a:rect l="0" t="0" r="r" b="b"/>
                <a:pathLst>
                  <a:path w="335" h="816">
                    <a:moveTo>
                      <a:pt x="307" y="0"/>
                    </a:moveTo>
                    <a:lnTo>
                      <a:pt x="0" y="386"/>
                    </a:lnTo>
                    <a:lnTo>
                      <a:pt x="335" y="816"/>
                    </a:lnTo>
                    <a:lnTo>
                      <a:pt x="307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3" name="Freeform 214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62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4" name="Freeform 215"/>
              <p:cNvSpPr>
                <a:spLocks/>
              </p:cNvSpPr>
              <p:nvPr userDrawn="1"/>
            </p:nvSpPr>
            <p:spPr bwMode="auto">
              <a:xfrm>
                <a:off x="1728788" y="4782215"/>
                <a:ext cx="1679575" cy="1119188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726" y="0"/>
                  </a:cxn>
                  <a:cxn ang="0">
                    <a:pos x="0" y="705"/>
                  </a:cxn>
                  <a:cxn ang="0">
                    <a:pos x="1058" y="705"/>
                  </a:cxn>
                  <a:cxn ang="0">
                    <a:pos x="726" y="0"/>
                  </a:cxn>
                </a:cxnLst>
                <a:rect l="0" t="0" r="r" b="b"/>
                <a:pathLst>
                  <a:path w="1058" h="705">
                    <a:moveTo>
                      <a:pt x="726" y="0"/>
                    </a:moveTo>
                    <a:lnTo>
                      <a:pt x="726" y="0"/>
                    </a:lnTo>
                    <a:lnTo>
                      <a:pt x="0" y="705"/>
                    </a:lnTo>
                    <a:lnTo>
                      <a:pt x="1058" y="705"/>
                    </a:lnTo>
                    <a:lnTo>
                      <a:pt x="72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5" name="Freeform 216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close/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83000"/>
                    </a:srgbClr>
                  </a:gs>
                  <a:gs pos="48000">
                    <a:srgbClr val="77445E">
                      <a:alpha val="63000"/>
                    </a:srgbClr>
                  </a:gs>
                  <a:gs pos="100000">
                    <a:srgbClr val="65394F">
                      <a:alpha val="69000"/>
                    </a:srgbClr>
                  </a:gs>
                </a:gsLst>
                <a:lin ang="13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6" name="Freeform 217"/>
              <p:cNvSpPr>
                <a:spLocks noEditPoints="1"/>
              </p:cNvSpPr>
              <p:nvPr userDrawn="1"/>
            </p:nvSpPr>
            <p:spPr bwMode="auto">
              <a:xfrm>
                <a:off x="2322513" y="3767802"/>
                <a:ext cx="2033588" cy="2133600"/>
              </a:xfrm>
              <a:custGeom>
                <a:avLst/>
                <a:gdLst/>
                <a:ahLst/>
                <a:cxnLst>
                  <a:cxn ang="0">
                    <a:pos x="352" y="639"/>
                  </a:cxn>
                  <a:cxn ang="0">
                    <a:pos x="684" y="1344"/>
                  </a:cxn>
                  <a:cxn ang="0">
                    <a:pos x="1082" y="1344"/>
                  </a:cxn>
                  <a:cxn ang="0">
                    <a:pos x="1281" y="839"/>
                  </a:cxn>
                  <a:cxn ang="0">
                    <a:pos x="352" y="639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281" h="1344">
                    <a:moveTo>
                      <a:pt x="352" y="639"/>
                    </a:moveTo>
                    <a:lnTo>
                      <a:pt x="684" y="1344"/>
                    </a:lnTo>
                    <a:lnTo>
                      <a:pt x="1082" y="1344"/>
                    </a:lnTo>
                    <a:lnTo>
                      <a:pt x="1281" y="839"/>
                    </a:lnTo>
                    <a:lnTo>
                      <a:pt x="352" y="639"/>
                    </a:lnTo>
                    <a:moveTo>
                      <a:pt x="0" y="0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7" name="Freeform 218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3000"/>
                    </a:srgbClr>
                  </a:gs>
                  <a:gs pos="100000">
                    <a:srgbClr val="723855"/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8" name="Freeform 219"/>
              <p:cNvSpPr>
                <a:spLocks noEditPoints="1"/>
              </p:cNvSpPr>
              <p:nvPr userDrawn="1"/>
            </p:nvSpPr>
            <p:spPr bwMode="auto">
              <a:xfrm>
                <a:off x="2325688" y="3770977"/>
                <a:ext cx="2030413" cy="1328738"/>
              </a:xfrm>
              <a:custGeom>
                <a:avLst/>
                <a:gdLst/>
                <a:ahLst/>
                <a:cxnLst>
                  <a:cxn ang="0">
                    <a:pos x="490" y="320"/>
                  </a:cxn>
                  <a:cxn ang="0">
                    <a:pos x="350" y="637"/>
                  </a:cxn>
                  <a:cxn ang="0">
                    <a:pos x="1279" y="837"/>
                  </a:cxn>
                  <a:cxn ang="0">
                    <a:pos x="490" y="32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50" y="637"/>
                  </a:cxn>
                  <a:cxn ang="0">
                    <a:pos x="295" y="192"/>
                  </a:cxn>
                  <a:cxn ang="0">
                    <a:pos x="0" y="0"/>
                  </a:cxn>
                </a:cxnLst>
                <a:rect l="0" t="0" r="r" b="b"/>
                <a:pathLst>
                  <a:path w="1279" h="837">
                    <a:moveTo>
                      <a:pt x="490" y="320"/>
                    </a:moveTo>
                    <a:lnTo>
                      <a:pt x="350" y="637"/>
                    </a:lnTo>
                    <a:lnTo>
                      <a:pt x="1279" y="837"/>
                    </a:lnTo>
                    <a:lnTo>
                      <a:pt x="490" y="320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350" y="637"/>
                    </a:lnTo>
                    <a:lnTo>
                      <a:pt x="295" y="192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9" name="Freeform 220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8000"/>
                    </a:srgbClr>
                  </a:gs>
                  <a:gs pos="100000">
                    <a:srgbClr val="602A43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0" name="Freeform 221"/>
              <p:cNvSpPr>
                <a:spLocks/>
              </p:cNvSpPr>
              <p:nvPr userDrawn="1"/>
            </p:nvSpPr>
            <p:spPr bwMode="auto">
              <a:xfrm>
                <a:off x="2794000" y="4075777"/>
                <a:ext cx="309563" cy="7064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5" y="445"/>
                  </a:cxn>
                  <a:cxn ang="0">
                    <a:pos x="195" y="128"/>
                  </a:cxn>
                  <a:cxn ang="0">
                    <a:pos x="0" y="0"/>
                  </a:cxn>
                </a:cxnLst>
                <a:rect l="0" t="0" r="r" b="b"/>
                <a:pathLst>
                  <a:path w="195" h="445">
                    <a:moveTo>
                      <a:pt x="0" y="0"/>
                    </a:moveTo>
                    <a:lnTo>
                      <a:pt x="55" y="445"/>
                    </a:lnTo>
                    <a:lnTo>
                      <a:pt x="195" y="128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1" name="Freeform 222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77000"/>
                    </a:srgbClr>
                  </a:gs>
                  <a:gs pos="100000">
                    <a:srgbClr val="9D6182">
                      <a:alpha val="75000"/>
                    </a:srgbClr>
                  </a:gs>
                </a:gsLst>
                <a:lin ang="14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2" name="Freeform 223"/>
              <p:cNvSpPr>
                <a:spLocks/>
              </p:cNvSpPr>
              <p:nvPr userDrawn="1"/>
            </p:nvSpPr>
            <p:spPr bwMode="auto">
              <a:xfrm>
                <a:off x="4040188" y="5099715"/>
                <a:ext cx="1368425" cy="801688"/>
              </a:xfrm>
              <a:custGeom>
                <a:avLst/>
                <a:gdLst/>
                <a:ahLst/>
                <a:cxnLst>
                  <a:cxn ang="0">
                    <a:pos x="199" y="0"/>
                  </a:cxn>
                  <a:cxn ang="0">
                    <a:pos x="199" y="0"/>
                  </a:cxn>
                  <a:cxn ang="0">
                    <a:pos x="0" y="505"/>
                  </a:cxn>
                  <a:cxn ang="0">
                    <a:pos x="403" y="505"/>
                  </a:cxn>
                  <a:cxn ang="0">
                    <a:pos x="862" y="143"/>
                  </a:cxn>
                  <a:cxn ang="0">
                    <a:pos x="860" y="143"/>
                  </a:cxn>
                  <a:cxn ang="0">
                    <a:pos x="199" y="0"/>
                  </a:cxn>
                </a:cxnLst>
                <a:rect l="0" t="0" r="r" b="b"/>
                <a:pathLst>
                  <a:path w="862" h="505">
                    <a:moveTo>
                      <a:pt x="199" y="0"/>
                    </a:moveTo>
                    <a:lnTo>
                      <a:pt x="199" y="0"/>
                    </a:lnTo>
                    <a:lnTo>
                      <a:pt x="0" y="505"/>
                    </a:lnTo>
                    <a:lnTo>
                      <a:pt x="403" y="505"/>
                    </a:lnTo>
                    <a:lnTo>
                      <a:pt x="862" y="143"/>
                    </a:lnTo>
                    <a:lnTo>
                      <a:pt x="860" y="143"/>
                    </a:lnTo>
                    <a:lnTo>
                      <a:pt x="19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3" name="Freeform 224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4" name="Freeform 225"/>
              <p:cNvSpPr>
                <a:spLocks/>
              </p:cNvSpPr>
              <p:nvPr userDrawn="1"/>
            </p:nvSpPr>
            <p:spPr bwMode="auto">
              <a:xfrm>
                <a:off x="5053013" y="4634577"/>
                <a:ext cx="263525" cy="51593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166" y="325"/>
                  </a:cxn>
                  <a:cxn ang="0">
                    <a:pos x="2" y="0"/>
                  </a:cxn>
                </a:cxnLst>
                <a:rect l="0" t="0" r="r" b="b"/>
                <a:pathLst>
                  <a:path w="166" h="325">
                    <a:moveTo>
                      <a:pt x="2" y="0"/>
                    </a:moveTo>
                    <a:lnTo>
                      <a:pt x="0" y="2"/>
                    </a:lnTo>
                    <a:lnTo>
                      <a:pt x="166" y="325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5" name="Rectangle 226"/>
              <p:cNvSpPr>
                <a:spLocks noChangeArrowheads="1"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prstGeom prst="rect">
                <a:avLst/>
              </a:prstGeom>
              <a:solidFill>
                <a:srgbClr val="25000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6" name="Freeform 227"/>
              <p:cNvSpPr>
                <a:spLocks/>
              </p:cNvSpPr>
              <p:nvPr userDrawn="1"/>
            </p:nvSpPr>
            <p:spPr bwMode="auto">
              <a:xfrm>
                <a:off x="5405438" y="5326727"/>
                <a:ext cx="3175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7" name="Freeform 228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8" name="Freeform 229"/>
              <p:cNvSpPr>
                <a:spLocks/>
              </p:cNvSpPr>
              <p:nvPr userDrawn="1"/>
            </p:nvSpPr>
            <p:spPr bwMode="auto">
              <a:xfrm>
                <a:off x="5056188" y="4634577"/>
                <a:ext cx="512763" cy="6921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64" y="325"/>
                  </a:cxn>
                  <a:cxn ang="0">
                    <a:pos x="222" y="436"/>
                  </a:cxn>
                  <a:cxn ang="0">
                    <a:pos x="323" y="46"/>
                  </a:cxn>
                  <a:cxn ang="0">
                    <a:pos x="0" y="0"/>
                  </a:cxn>
                </a:cxnLst>
                <a:rect l="0" t="0" r="r" b="b"/>
                <a:pathLst>
                  <a:path w="323" h="436">
                    <a:moveTo>
                      <a:pt x="0" y="0"/>
                    </a:moveTo>
                    <a:lnTo>
                      <a:pt x="0" y="0"/>
                    </a:lnTo>
                    <a:lnTo>
                      <a:pt x="164" y="325"/>
                    </a:lnTo>
                    <a:lnTo>
                      <a:pt x="222" y="436"/>
                    </a:lnTo>
                    <a:lnTo>
                      <a:pt x="323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9" name="Freeform 230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rgbClr val="9D6182">
                      <a:alpha val="85000"/>
                    </a:srgb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0" name="Freeform 231"/>
              <p:cNvSpPr>
                <a:spLocks/>
              </p:cNvSpPr>
              <p:nvPr userDrawn="1"/>
            </p:nvSpPr>
            <p:spPr bwMode="auto">
              <a:xfrm>
                <a:off x="4356100" y="4637752"/>
                <a:ext cx="1049338" cy="688975"/>
              </a:xfrm>
              <a:custGeom>
                <a:avLst/>
                <a:gdLst/>
                <a:ahLst/>
                <a:cxnLst>
                  <a:cxn ang="0">
                    <a:pos x="439" y="0"/>
                  </a:cxn>
                  <a:cxn ang="0">
                    <a:pos x="0" y="291"/>
                  </a:cxn>
                  <a:cxn ang="0">
                    <a:pos x="661" y="434"/>
                  </a:cxn>
                  <a:cxn ang="0">
                    <a:pos x="605" y="323"/>
                  </a:cxn>
                  <a:cxn ang="0">
                    <a:pos x="439" y="0"/>
                  </a:cxn>
                </a:cxnLst>
                <a:rect l="0" t="0" r="r" b="b"/>
                <a:pathLst>
                  <a:path w="661" h="434">
                    <a:moveTo>
                      <a:pt x="439" y="0"/>
                    </a:moveTo>
                    <a:lnTo>
                      <a:pt x="0" y="291"/>
                    </a:lnTo>
                    <a:lnTo>
                      <a:pt x="661" y="434"/>
                    </a:lnTo>
                    <a:lnTo>
                      <a:pt x="605" y="323"/>
                    </a:lnTo>
                    <a:lnTo>
                      <a:pt x="43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1" name="Freeform 232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2" name="Freeform 233"/>
              <p:cNvSpPr>
                <a:spLocks/>
              </p:cNvSpPr>
              <p:nvPr userDrawn="1"/>
            </p:nvSpPr>
            <p:spPr bwMode="auto">
              <a:xfrm>
                <a:off x="5316538" y="5150515"/>
                <a:ext cx="92075" cy="1762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6" y="111"/>
                  </a:cxn>
                  <a:cxn ang="0">
                    <a:pos x="58" y="111"/>
                  </a:cxn>
                  <a:cxn ang="0">
                    <a:pos x="0" y="0"/>
                  </a:cxn>
                </a:cxnLst>
                <a:rect l="0" t="0" r="r" b="b"/>
                <a:pathLst>
                  <a:path w="58" h="111">
                    <a:moveTo>
                      <a:pt x="0" y="0"/>
                    </a:moveTo>
                    <a:lnTo>
                      <a:pt x="56" y="111"/>
                    </a:lnTo>
                    <a:lnTo>
                      <a:pt x="58" y="111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3" name="Freeform 234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  <a:close/>
                  </a:path>
                </a:pathLst>
              </a:custGeom>
              <a:gradFill>
                <a:gsLst>
                  <a:gs pos="0">
                    <a:srgbClr val="602A43">
                      <a:alpha val="89000"/>
                    </a:srgbClr>
                  </a:gs>
                  <a:gs pos="100000">
                    <a:srgbClr val="65394F">
                      <a:alpha val="92000"/>
                    </a:srgbClr>
                  </a:gs>
                </a:gsLst>
                <a:lin ang="16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4" name="Freeform 235"/>
              <p:cNvSpPr>
                <a:spLocks/>
              </p:cNvSpPr>
              <p:nvPr userDrawn="1"/>
            </p:nvSpPr>
            <p:spPr bwMode="auto">
              <a:xfrm>
                <a:off x="5056188" y="4213890"/>
                <a:ext cx="638175" cy="493713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0" y="265"/>
                  </a:cxn>
                  <a:cxn ang="0">
                    <a:pos x="323" y="311"/>
                  </a:cxn>
                  <a:cxn ang="0">
                    <a:pos x="402" y="0"/>
                  </a:cxn>
                </a:cxnLst>
                <a:rect l="0" t="0" r="r" b="b"/>
                <a:pathLst>
                  <a:path w="402" h="311">
                    <a:moveTo>
                      <a:pt x="402" y="0"/>
                    </a:moveTo>
                    <a:lnTo>
                      <a:pt x="0" y="265"/>
                    </a:lnTo>
                    <a:lnTo>
                      <a:pt x="323" y="311"/>
                    </a:lnTo>
                    <a:lnTo>
                      <a:pt x="40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5" name="Freeform 236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E8399"/>
                  </a:gs>
                  <a:gs pos="50000">
                    <a:schemeClr val="accent2">
                      <a:alpha val="32000"/>
                    </a:schemeClr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90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6" name="Freeform 237"/>
              <p:cNvSpPr>
                <a:spLocks/>
              </p:cNvSpPr>
              <p:nvPr userDrawn="1"/>
            </p:nvSpPr>
            <p:spPr bwMode="auto">
              <a:xfrm>
                <a:off x="0" y="2046952"/>
                <a:ext cx="1368425" cy="2170113"/>
              </a:xfrm>
              <a:custGeom>
                <a:avLst/>
                <a:gdLst/>
                <a:ahLst/>
                <a:cxnLst>
                  <a:cxn ang="0">
                    <a:pos x="862" y="0"/>
                  </a:cxn>
                  <a:cxn ang="0">
                    <a:pos x="0" y="674"/>
                  </a:cxn>
                  <a:cxn ang="0">
                    <a:pos x="0" y="1321"/>
                  </a:cxn>
                  <a:cxn ang="0">
                    <a:pos x="229" y="1367"/>
                  </a:cxn>
                  <a:cxn ang="0">
                    <a:pos x="862" y="0"/>
                  </a:cxn>
                </a:cxnLst>
                <a:rect l="0" t="0" r="r" b="b"/>
                <a:pathLst>
                  <a:path w="862" h="1367">
                    <a:moveTo>
                      <a:pt x="862" y="0"/>
                    </a:moveTo>
                    <a:lnTo>
                      <a:pt x="0" y="674"/>
                    </a:lnTo>
                    <a:lnTo>
                      <a:pt x="0" y="1321"/>
                    </a:lnTo>
                    <a:lnTo>
                      <a:pt x="229" y="1367"/>
                    </a:lnTo>
                    <a:lnTo>
                      <a:pt x="86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7" name="Freeform 238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  <a:close/>
                  </a:path>
                </a:pathLst>
              </a:custGeom>
              <a:gradFill>
                <a:gsLst>
                  <a:gs pos="23000">
                    <a:srgbClr val="8E506C">
                      <a:alpha val="69000"/>
                    </a:srgbClr>
                  </a:gs>
                  <a:gs pos="50000">
                    <a:srgbClr val="B58EA2"/>
                  </a:gs>
                  <a:gs pos="100000">
                    <a:srgbClr val="CFB4C4">
                      <a:shade val="100000"/>
                      <a:satMod val="115000"/>
                    </a:srgbClr>
                  </a:gs>
                </a:gsLst>
                <a:lin ang="180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8" name="Freeform 239"/>
              <p:cNvSpPr>
                <a:spLocks/>
              </p:cNvSpPr>
              <p:nvPr userDrawn="1"/>
            </p:nvSpPr>
            <p:spPr bwMode="auto">
              <a:xfrm>
                <a:off x="0" y="4217065"/>
                <a:ext cx="982663" cy="1027113"/>
              </a:xfrm>
              <a:custGeom>
                <a:avLst/>
                <a:gdLst/>
                <a:ahLst/>
                <a:cxnLst>
                  <a:cxn ang="0">
                    <a:pos x="229" y="0"/>
                  </a:cxn>
                  <a:cxn ang="0">
                    <a:pos x="0" y="307"/>
                  </a:cxn>
                  <a:cxn ang="0">
                    <a:pos x="0" y="588"/>
                  </a:cxn>
                  <a:cxn ang="0">
                    <a:pos x="0" y="588"/>
                  </a:cxn>
                  <a:cxn ang="0">
                    <a:pos x="619" y="647"/>
                  </a:cxn>
                  <a:cxn ang="0">
                    <a:pos x="229" y="0"/>
                  </a:cxn>
                </a:cxnLst>
                <a:rect l="0" t="0" r="r" b="b"/>
                <a:pathLst>
                  <a:path w="619" h="647">
                    <a:moveTo>
                      <a:pt x="229" y="0"/>
                    </a:moveTo>
                    <a:lnTo>
                      <a:pt x="0" y="307"/>
                    </a:lnTo>
                    <a:lnTo>
                      <a:pt x="0" y="588"/>
                    </a:lnTo>
                    <a:lnTo>
                      <a:pt x="0" y="588"/>
                    </a:lnTo>
                    <a:lnTo>
                      <a:pt x="619" y="647"/>
                    </a:lnTo>
                    <a:lnTo>
                      <a:pt x="229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240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77445E">
                      <a:alpha val="81000"/>
                    </a:srgbClr>
                  </a:gs>
                  <a:gs pos="100000">
                    <a:srgbClr val="9D6182">
                      <a:alpha val="66000"/>
                    </a:srgbClr>
                  </a:gs>
                </a:gsLst>
                <a:lin ang="15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241"/>
              <p:cNvSpPr>
                <a:spLocks/>
              </p:cNvSpPr>
              <p:nvPr userDrawn="1"/>
            </p:nvSpPr>
            <p:spPr bwMode="auto">
              <a:xfrm>
                <a:off x="0" y="4144040"/>
                <a:ext cx="363538" cy="5603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53"/>
                  </a:cxn>
                  <a:cxn ang="0">
                    <a:pos x="229" y="46"/>
                  </a:cxn>
                  <a:cxn ang="0">
                    <a:pos x="0" y="0"/>
                  </a:cxn>
                </a:cxnLst>
                <a:rect l="0" t="0" r="r" b="b"/>
                <a:pathLst>
                  <a:path w="229" h="353">
                    <a:moveTo>
                      <a:pt x="0" y="0"/>
                    </a:moveTo>
                    <a:lnTo>
                      <a:pt x="0" y="353"/>
                    </a:lnTo>
                    <a:lnTo>
                      <a:pt x="229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1" name="Freeform 242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65394F">
                      <a:alpha val="94000"/>
                    </a:srgbClr>
                  </a:gs>
                  <a:gs pos="100000">
                    <a:schemeClr val="accent2">
                      <a:alpha val="31000"/>
                    </a:schemeClr>
                  </a:gs>
                  <a:gs pos="100000">
                    <a:srgbClr val="65394F"/>
                  </a:gs>
                </a:gsLst>
                <a:lin ang="14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2" name="Freeform 243"/>
              <p:cNvSpPr>
                <a:spLocks/>
              </p:cNvSpPr>
              <p:nvPr userDrawn="1"/>
            </p:nvSpPr>
            <p:spPr bwMode="auto">
              <a:xfrm>
                <a:off x="0" y="4782215"/>
                <a:ext cx="2881313" cy="1119188"/>
              </a:xfrm>
              <a:custGeom>
                <a:avLst/>
                <a:gdLst/>
                <a:ahLst/>
                <a:cxnLst>
                  <a:cxn ang="0">
                    <a:pos x="1815" y="0"/>
                  </a:cxn>
                  <a:cxn ang="0">
                    <a:pos x="619" y="291"/>
                  </a:cxn>
                  <a:cxn ang="0">
                    <a:pos x="0" y="232"/>
                  </a:cxn>
                  <a:cxn ang="0">
                    <a:pos x="0" y="319"/>
                  </a:cxn>
                  <a:cxn ang="0">
                    <a:pos x="698" y="705"/>
                  </a:cxn>
                  <a:cxn ang="0">
                    <a:pos x="1089" y="705"/>
                  </a:cxn>
                  <a:cxn ang="0">
                    <a:pos x="1815" y="0"/>
                  </a:cxn>
                </a:cxnLst>
                <a:rect l="0" t="0" r="r" b="b"/>
                <a:pathLst>
                  <a:path w="1815" h="705">
                    <a:moveTo>
                      <a:pt x="1815" y="0"/>
                    </a:moveTo>
                    <a:lnTo>
                      <a:pt x="619" y="291"/>
                    </a:lnTo>
                    <a:lnTo>
                      <a:pt x="0" y="232"/>
                    </a:lnTo>
                    <a:lnTo>
                      <a:pt x="0" y="319"/>
                    </a:lnTo>
                    <a:lnTo>
                      <a:pt x="698" y="705"/>
                    </a:lnTo>
                    <a:lnTo>
                      <a:pt x="1089" y="705"/>
                    </a:lnTo>
                    <a:lnTo>
                      <a:pt x="181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244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4" name="Freeform 245"/>
              <p:cNvSpPr>
                <a:spLocks/>
              </p:cNvSpPr>
              <p:nvPr userDrawn="1"/>
            </p:nvSpPr>
            <p:spPr bwMode="auto">
              <a:xfrm>
                <a:off x="0" y="5150515"/>
                <a:ext cx="982663" cy="936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19" y="59"/>
                  </a:cxn>
                  <a:cxn ang="0">
                    <a:pos x="0" y="0"/>
                  </a:cxn>
                </a:cxnLst>
                <a:rect l="0" t="0" r="r" b="b"/>
                <a:pathLst>
                  <a:path w="619" h="59">
                    <a:moveTo>
                      <a:pt x="0" y="0"/>
                    </a:moveTo>
                    <a:lnTo>
                      <a:pt x="0" y="0"/>
                    </a:lnTo>
                    <a:lnTo>
                      <a:pt x="619" y="5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5" name="Freeform 246"/>
              <p:cNvSpPr>
                <a:spLocks noEditPoints="1"/>
              </p:cNvSpPr>
              <p:nvPr userDrawn="1"/>
            </p:nvSpPr>
            <p:spPr bwMode="auto">
              <a:xfrm>
                <a:off x="9431338" y="1843752"/>
                <a:ext cx="474663" cy="1322388"/>
              </a:xfrm>
              <a:custGeom>
                <a:avLst/>
                <a:gdLst/>
                <a:ahLst/>
                <a:cxnLst>
                  <a:cxn ang="0">
                    <a:pos x="299" y="67"/>
                  </a:cxn>
                  <a:cxn ang="0">
                    <a:pos x="113" y="524"/>
                  </a:cxn>
                  <a:cxn ang="0">
                    <a:pos x="299" y="833"/>
                  </a:cxn>
                  <a:cxn ang="0">
                    <a:pos x="299" y="67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299" y="0"/>
                  </a:cxn>
                </a:cxnLst>
                <a:rect l="0" t="0" r="r" b="b"/>
                <a:pathLst>
                  <a:path w="299" h="833">
                    <a:moveTo>
                      <a:pt x="299" y="67"/>
                    </a:moveTo>
                    <a:lnTo>
                      <a:pt x="113" y="524"/>
                    </a:lnTo>
                    <a:lnTo>
                      <a:pt x="299" y="833"/>
                    </a:lnTo>
                    <a:lnTo>
                      <a:pt x="299" y="67"/>
                    </a:lnTo>
                    <a:close/>
                    <a:moveTo>
                      <a:pt x="299" y="0"/>
                    </a:moveTo>
                    <a:lnTo>
                      <a:pt x="0" y="336"/>
                    </a:lnTo>
                    <a:lnTo>
                      <a:pt x="299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6" name="Freeform 248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close/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249"/>
              <p:cNvSpPr>
                <a:spLocks noEditPoints="1"/>
              </p:cNvSpPr>
              <p:nvPr userDrawn="1"/>
            </p:nvSpPr>
            <p:spPr bwMode="auto">
              <a:xfrm>
                <a:off x="8453438" y="2704177"/>
                <a:ext cx="1452563" cy="1035050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448" y="569"/>
                  </a:cxn>
                  <a:cxn ang="0">
                    <a:pos x="915" y="652"/>
                  </a:cxn>
                  <a:cxn ang="0">
                    <a:pos x="915" y="462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0" y="491"/>
                  </a:cxn>
                  <a:cxn ang="0">
                    <a:pos x="0" y="491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915" h="652">
                    <a:moveTo>
                      <a:pt x="434" y="0"/>
                    </a:moveTo>
                    <a:lnTo>
                      <a:pt x="448" y="569"/>
                    </a:lnTo>
                    <a:lnTo>
                      <a:pt x="448" y="569"/>
                    </a:lnTo>
                    <a:lnTo>
                      <a:pt x="448" y="569"/>
                    </a:lnTo>
                    <a:lnTo>
                      <a:pt x="915" y="652"/>
                    </a:lnTo>
                    <a:lnTo>
                      <a:pt x="915" y="462"/>
                    </a:lnTo>
                    <a:lnTo>
                      <a:pt x="434" y="0"/>
                    </a:lnTo>
                    <a:moveTo>
                      <a:pt x="434" y="0"/>
                    </a:moveTo>
                    <a:lnTo>
                      <a:pt x="0" y="491"/>
                    </a:lnTo>
                    <a:lnTo>
                      <a:pt x="0" y="491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250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  <a:close/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251"/>
              <p:cNvSpPr>
                <a:spLocks/>
              </p:cNvSpPr>
              <p:nvPr userDrawn="1"/>
            </p:nvSpPr>
            <p:spPr bwMode="auto">
              <a:xfrm>
                <a:off x="8453438" y="2704177"/>
                <a:ext cx="711200" cy="903288"/>
              </a:xfrm>
              <a:custGeom>
                <a:avLst/>
                <a:gdLst/>
                <a:ahLst/>
                <a:cxnLst>
                  <a:cxn ang="0">
                    <a:pos x="434" y="0"/>
                  </a:cxn>
                  <a:cxn ang="0">
                    <a:pos x="0" y="491"/>
                  </a:cxn>
                  <a:cxn ang="0">
                    <a:pos x="448" y="569"/>
                  </a:cxn>
                  <a:cxn ang="0">
                    <a:pos x="434" y="0"/>
                  </a:cxn>
                  <a:cxn ang="0">
                    <a:pos x="434" y="0"/>
                  </a:cxn>
                </a:cxnLst>
                <a:rect l="0" t="0" r="r" b="b"/>
                <a:pathLst>
                  <a:path w="448" h="569">
                    <a:moveTo>
                      <a:pt x="434" y="0"/>
                    </a:moveTo>
                    <a:lnTo>
                      <a:pt x="0" y="491"/>
                    </a:lnTo>
                    <a:lnTo>
                      <a:pt x="448" y="569"/>
                    </a:lnTo>
                    <a:lnTo>
                      <a:pt x="434" y="0"/>
                    </a:lnTo>
                    <a:lnTo>
                      <a:pt x="434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0" name="Freeform 252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763588" cy="1060450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0" y="206"/>
                  </a:cxn>
                  <a:cxn ang="0">
                    <a:pos x="481" y="668"/>
                  </a:cxn>
                  <a:cxn ang="0">
                    <a:pos x="481" y="497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0" y="206"/>
                  </a:cxn>
                  <a:cxn ang="0">
                    <a:pos x="182" y="0"/>
                  </a:cxn>
                  <a:cxn ang="0">
                    <a:pos x="182" y="0"/>
                  </a:cxn>
                </a:cxnLst>
                <a:rect l="0" t="0" r="r" b="b"/>
                <a:pathLst>
                  <a:path w="481" h="668">
                    <a:moveTo>
                      <a:pt x="182" y="0"/>
                    </a:move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481" y="668"/>
                    </a:lnTo>
                    <a:lnTo>
                      <a:pt x="481" y="497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0" y="206"/>
                    </a:lnTo>
                    <a:lnTo>
                      <a:pt x="182" y="0"/>
                    </a:lnTo>
                    <a:lnTo>
                      <a:pt x="182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1" name="Freeform 254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255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256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257"/>
              <p:cNvSpPr>
                <a:spLocks/>
              </p:cNvSpPr>
              <p:nvPr userDrawn="1"/>
            </p:nvSpPr>
            <p:spPr bwMode="auto">
              <a:xfrm>
                <a:off x="9431338" y="2377152"/>
                <a:ext cx="179388" cy="298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13" y="188"/>
                  </a:cxn>
                  <a:cxn ang="0">
                    <a:pos x="113" y="188"/>
                  </a:cxn>
                  <a:cxn ang="0">
                    <a:pos x="0" y="0"/>
                  </a:cxn>
                </a:cxnLst>
                <a:rect l="0" t="0" r="r" b="b"/>
                <a:pathLst>
                  <a:path w="113" h="188">
                    <a:moveTo>
                      <a:pt x="0" y="0"/>
                    </a:moveTo>
                    <a:lnTo>
                      <a:pt x="0" y="0"/>
                    </a:lnTo>
                    <a:lnTo>
                      <a:pt x="113" y="188"/>
                    </a:lnTo>
                    <a:lnTo>
                      <a:pt x="113" y="188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258"/>
              <p:cNvSpPr>
                <a:spLocks/>
              </p:cNvSpPr>
              <p:nvPr userDrawn="1"/>
            </p:nvSpPr>
            <p:spPr bwMode="auto">
              <a:xfrm>
                <a:off x="9431338" y="1843752"/>
                <a:ext cx="474663" cy="831850"/>
              </a:xfrm>
              <a:custGeom>
                <a:avLst/>
                <a:gdLst/>
                <a:ahLst/>
                <a:cxnLst>
                  <a:cxn ang="0">
                    <a:pos x="299" y="0"/>
                  </a:cxn>
                  <a:cxn ang="0">
                    <a:pos x="299" y="0"/>
                  </a:cxn>
                  <a:cxn ang="0">
                    <a:pos x="0" y="336"/>
                  </a:cxn>
                  <a:cxn ang="0">
                    <a:pos x="113" y="524"/>
                  </a:cxn>
                  <a:cxn ang="0">
                    <a:pos x="299" y="67"/>
                  </a:cxn>
                  <a:cxn ang="0">
                    <a:pos x="299" y="0"/>
                  </a:cxn>
                </a:cxnLst>
                <a:rect l="0" t="0" r="r" b="b"/>
                <a:pathLst>
                  <a:path w="299" h="524">
                    <a:moveTo>
                      <a:pt x="299" y="0"/>
                    </a:moveTo>
                    <a:lnTo>
                      <a:pt x="299" y="0"/>
                    </a:lnTo>
                    <a:lnTo>
                      <a:pt x="0" y="336"/>
                    </a:lnTo>
                    <a:lnTo>
                      <a:pt x="113" y="524"/>
                    </a:lnTo>
                    <a:lnTo>
                      <a:pt x="299" y="67"/>
                    </a:lnTo>
                    <a:lnTo>
                      <a:pt x="29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7445E">
                      <a:alpha val="90000"/>
                    </a:srgbClr>
                  </a:gs>
                  <a:gs pos="100000">
                    <a:srgbClr val="9D6182">
                      <a:alpha val="49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260"/>
              <p:cNvSpPr>
                <a:spLocks/>
              </p:cNvSpPr>
              <p:nvPr userDrawn="1"/>
            </p:nvSpPr>
            <p:spPr bwMode="auto">
              <a:xfrm>
                <a:off x="9142413" y="2377152"/>
                <a:ext cx="468313" cy="327025"/>
              </a:xfrm>
              <a:custGeom>
                <a:avLst/>
                <a:gdLst/>
                <a:ahLst/>
                <a:cxnLst>
                  <a:cxn ang="0">
                    <a:pos x="182" y="0"/>
                  </a:cxn>
                  <a:cxn ang="0">
                    <a:pos x="0" y="206"/>
                  </a:cxn>
                  <a:cxn ang="0">
                    <a:pos x="295" y="188"/>
                  </a:cxn>
                  <a:cxn ang="0">
                    <a:pos x="295" y="188"/>
                  </a:cxn>
                  <a:cxn ang="0">
                    <a:pos x="182" y="0"/>
                  </a:cxn>
                </a:cxnLst>
                <a:rect l="0" t="0" r="r" b="b"/>
                <a:pathLst>
                  <a:path w="295" h="206">
                    <a:moveTo>
                      <a:pt x="182" y="0"/>
                    </a:moveTo>
                    <a:lnTo>
                      <a:pt x="0" y="206"/>
                    </a:lnTo>
                    <a:lnTo>
                      <a:pt x="295" y="188"/>
                    </a:lnTo>
                    <a:lnTo>
                      <a:pt x="295" y="188"/>
                    </a:lnTo>
                    <a:lnTo>
                      <a:pt x="182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262"/>
              <p:cNvSpPr>
                <a:spLocks/>
              </p:cNvSpPr>
              <p:nvPr userDrawn="1"/>
            </p:nvSpPr>
            <p:spPr bwMode="auto">
              <a:xfrm>
                <a:off x="9070975" y="1758027"/>
                <a:ext cx="835025" cy="387350"/>
              </a:xfrm>
              <a:custGeom>
                <a:avLst/>
                <a:gdLst/>
                <a:ahLst/>
                <a:cxnLst>
                  <a:cxn ang="0">
                    <a:pos x="526" y="0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140" y="244"/>
                  </a:cxn>
                  <a:cxn ang="0">
                    <a:pos x="526" y="26"/>
                  </a:cxn>
                  <a:cxn ang="0">
                    <a:pos x="526" y="0"/>
                  </a:cxn>
                </a:cxnLst>
                <a:rect l="0" t="0" r="r" b="b"/>
                <a:pathLst>
                  <a:path w="526" h="244">
                    <a:moveTo>
                      <a:pt x="526" y="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140" y="244"/>
                    </a:lnTo>
                    <a:lnTo>
                      <a:pt x="526" y="26"/>
                    </a:lnTo>
                    <a:lnTo>
                      <a:pt x="526" y="0"/>
                    </a:lnTo>
                    <a:close/>
                  </a:path>
                </a:pathLst>
              </a:custGeom>
              <a:solidFill>
                <a:srgbClr val="AE83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264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close/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265"/>
              <p:cNvSpPr>
                <a:spLocks noEditPoints="1"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0" y="12"/>
                    </a:moveTo>
                    <a:lnTo>
                      <a:pt x="0" y="12"/>
                    </a:lnTo>
                    <a:moveTo>
                      <a:pt x="550" y="0"/>
                    </a:move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266"/>
              <p:cNvSpPr>
                <a:spLocks/>
              </p:cNvSpPr>
              <p:nvPr userDrawn="1"/>
            </p:nvSpPr>
            <p:spPr bwMode="auto">
              <a:xfrm>
                <a:off x="7856538" y="1792952"/>
                <a:ext cx="976313" cy="1160463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215" y="0"/>
                  </a:cxn>
                  <a:cxn ang="0">
                    <a:pos x="0" y="731"/>
                  </a:cxn>
                  <a:cxn ang="0">
                    <a:pos x="615" y="384"/>
                  </a:cxn>
                  <a:cxn ang="0">
                    <a:pos x="215" y="0"/>
                  </a:cxn>
                </a:cxnLst>
                <a:rect l="0" t="0" r="r" b="b"/>
                <a:pathLst>
                  <a:path w="615" h="731">
                    <a:moveTo>
                      <a:pt x="215" y="0"/>
                    </a:moveTo>
                    <a:lnTo>
                      <a:pt x="215" y="0"/>
                    </a:lnTo>
                    <a:lnTo>
                      <a:pt x="0" y="731"/>
                    </a:lnTo>
                    <a:lnTo>
                      <a:pt x="615" y="384"/>
                    </a:lnTo>
                    <a:lnTo>
                      <a:pt x="2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1" name="Freeform 268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1095375" cy="6286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400" y="396"/>
                  </a:cxn>
                  <a:cxn ang="0">
                    <a:pos x="690" y="234"/>
                  </a:cxn>
                  <a:cxn ang="0">
                    <a:pos x="550" y="0"/>
                  </a:cxn>
                </a:cxnLst>
                <a:rect l="0" t="0" r="r" b="b"/>
                <a:pathLst>
                  <a:path w="690" h="396">
                    <a:moveTo>
                      <a:pt x="550" y="0"/>
                    </a:moveTo>
                    <a:lnTo>
                      <a:pt x="0" y="12"/>
                    </a:lnTo>
                    <a:lnTo>
                      <a:pt x="400" y="396"/>
                    </a:lnTo>
                    <a:lnTo>
                      <a:pt x="690" y="234"/>
                    </a:lnTo>
                    <a:lnTo>
                      <a:pt x="550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2" name="Freeform 270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3" name="Freeform 271"/>
              <p:cNvSpPr>
                <a:spLocks/>
              </p:cNvSpPr>
              <p:nvPr userDrawn="1"/>
            </p:nvSpPr>
            <p:spPr bwMode="auto">
              <a:xfrm>
                <a:off x="8197850" y="1773902"/>
                <a:ext cx="873125" cy="19050"/>
              </a:xfrm>
              <a:custGeom>
                <a:avLst/>
                <a:gdLst/>
                <a:ahLst/>
                <a:cxnLst>
                  <a:cxn ang="0">
                    <a:pos x="550" y="0"/>
                  </a:cxn>
                  <a:cxn ang="0">
                    <a:pos x="0" y="12"/>
                  </a:cxn>
                  <a:cxn ang="0">
                    <a:pos x="550" y="0"/>
                  </a:cxn>
                  <a:cxn ang="0">
                    <a:pos x="550" y="0"/>
                  </a:cxn>
                </a:cxnLst>
                <a:rect l="0" t="0" r="r" b="b"/>
                <a:pathLst>
                  <a:path w="550" h="12">
                    <a:moveTo>
                      <a:pt x="550" y="0"/>
                    </a:moveTo>
                    <a:lnTo>
                      <a:pt x="0" y="12"/>
                    </a:lnTo>
                    <a:lnTo>
                      <a:pt x="550" y="0"/>
                    </a:lnTo>
                    <a:lnTo>
                      <a:pt x="55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4" name="Freeform 272"/>
              <p:cNvSpPr>
                <a:spLocks noEditPoints="1"/>
              </p:cNvSpPr>
              <p:nvPr userDrawn="1"/>
            </p:nvSpPr>
            <p:spPr bwMode="auto">
              <a:xfrm>
                <a:off x="8453438" y="1812002"/>
                <a:ext cx="1452563" cy="1671638"/>
              </a:xfrm>
              <a:custGeom>
                <a:avLst/>
                <a:gdLst/>
                <a:ahLst/>
                <a:cxnLst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0" y="1053"/>
                  </a:cxn>
                  <a:cxn ang="0">
                    <a:pos x="915" y="0"/>
                  </a:cxn>
                  <a:cxn ang="0">
                    <a:pos x="557" y="255"/>
                  </a:cxn>
                  <a:cxn ang="0">
                    <a:pos x="616" y="356"/>
                  </a:cxn>
                  <a:cxn ang="0">
                    <a:pos x="915" y="20"/>
                  </a:cxn>
                  <a:cxn ang="0">
                    <a:pos x="915" y="0"/>
                  </a:cxn>
                </a:cxnLst>
                <a:rect l="0" t="0" r="r" b="b"/>
                <a:pathLst>
                  <a:path w="915" h="1053">
                    <a:moveTo>
                      <a:pt x="0" y="1053"/>
                    </a:moveTo>
                    <a:lnTo>
                      <a:pt x="0" y="1053"/>
                    </a:lnTo>
                    <a:lnTo>
                      <a:pt x="0" y="1053"/>
                    </a:lnTo>
                    <a:lnTo>
                      <a:pt x="0" y="1053"/>
                    </a:lnTo>
                    <a:close/>
                    <a:moveTo>
                      <a:pt x="915" y="0"/>
                    </a:moveTo>
                    <a:lnTo>
                      <a:pt x="557" y="255"/>
                    </a:lnTo>
                    <a:lnTo>
                      <a:pt x="616" y="356"/>
                    </a:lnTo>
                    <a:lnTo>
                      <a:pt x="915" y="20"/>
                    </a:lnTo>
                    <a:lnTo>
                      <a:pt x="915" y="0"/>
                    </a:lnTo>
                    <a:close/>
                  </a:path>
                </a:pathLst>
              </a:custGeom>
              <a:gradFill>
                <a:gsLst>
                  <a:gs pos="0">
                    <a:srgbClr val="8D516F">
                      <a:alpha val="64000"/>
                    </a:srgbClr>
                  </a:gs>
                  <a:gs pos="100000">
                    <a:srgbClr val="B58EA2">
                      <a:alpha val="52000"/>
                    </a:srgbClr>
                  </a:gs>
                </a:gsLst>
                <a:lin ang="126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Freeform 274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275"/>
              <p:cNvSpPr>
                <a:spLocks/>
              </p:cNvSpPr>
              <p:nvPr userDrawn="1"/>
            </p:nvSpPr>
            <p:spPr bwMode="auto">
              <a:xfrm>
                <a:off x="8148638" y="3483640"/>
                <a:ext cx="304800" cy="339725"/>
              </a:xfrm>
              <a:custGeom>
                <a:avLst/>
                <a:gdLst/>
                <a:ahLst/>
                <a:cxnLst>
                  <a:cxn ang="0">
                    <a:pos x="192" y="0"/>
                  </a:cxn>
                  <a:cxn ang="0">
                    <a:pos x="0" y="214"/>
                  </a:cxn>
                  <a:cxn ang="0">
                    <a:pos x="192" y="0"/>
                  </a:cxn>
                  <a:cxn ang="0">
                    <a:pos x="192" y="0"/>
                  </a:cxn>
                  <a:cxn ang="0">
                    <a:pos x="192" y="0"/>
                  </a:cxn>
                </a:cxnLst>
                <a:rect l="0" t="0" r="r" b="b"/>
                <a:pathLst>
                  <a:path w="192" h="214">
                    <a:moveTo>
                      <a:pt x="192" y="0"/>
                    </a:moveTo>
                    <a:lnTo>
                      <a:pt x="0" y="214"/>
                    </a:lnTo>
                    <a:lnTo>
                      <a:pt x="192" y="0"/>
                    </a:lnTo>
                    <a:lnTo>
                      <a:pt x="192" y="0"/>
                    </a:lnTo>
                    <a:lnTo>
                      <a:pt x="19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276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277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465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59" y="293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293">
                    <a:moveTo>
                      <a:pt x="0" y="0"/>
                    </a:moveTo>
                    <a:lnTo>
                      <a:pt x="259" y="293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278"/>
              <p:cNvSpPr>
                <a:spLocks/>
              </p:cNvSpPr>
              <p:nvPr userDrawn="1"/>
            </p:nvSpPr>
            <p:spPr bwMode="auto">
              <a:xfrm>
                <a:off x="7737475" y="2504152"/>
                <a:ext cx="1404938" cy="979488"/>
              </a:xfrm>
              <a:custGeom>
                <a:avLst/>
                <a:gdLst/>
                <a:ahLst/>
                <a:cxnLst>
                  <a:cxn ang="0">
                    <a:pos x="755" y="0"/>
                  </a:cxn>
                  <a:cxn ang="0">
                    <a:pos x="0" y="538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451" y="617"/>
                  </a:cxn>
                  <a:cxn ang="0">
                    <a:pos x="885" y="126"/>
                  </a:cxn>
                  <a:cxn ang="0">
                    <a:pos x="755" y="0"/>
                  </a:cxn>
                </a:cxnLst>
                <a:rect l="0" t="0" r="r" b="b"/>
                <a:pathLst>
                  <a:path w="885" h="617">
                    <a:moveTo>
                      <a:pt x="755" y="0"/>
                    </a:moveTo>
                    <a:lnTo>
                      <a:pt x="0" y="538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451" y="617"/>
                    </a:lnTo>
                    <a:lnTo>
                      <a:pt x="885" y="126"/>
                    </a:lnTo>
                    <a:lnTo>
                      <a:pt x="755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723855">
                      <a:alpha val="49000"/>
                    </a:srgbClr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280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1" name="Freeform 281"/>
              <p:cNvSpPr>
                <a:spLocks/>
              </p:cNvSpPr>
              <p:nvPr userDrawn="1"/>
            </p:nvSpPr>
            <p:spPr bwMode="auto">
              <a:xfrm>
                <a:off x="7737475" y="3358227"/>
                <a:ext cx="715963" cy="1254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51" y="79"/>
                  </a:cxn>
                  <a:cxn ang="0">
                    <a:pos x="451" y="79"/>
                  </a:cxn>
                  <a:cxn ang="0">
                    <a:pos x="0" y="0"/>
                  </a:cxn>
                </a:cxnLst>
                <a:rect l="0" t="0" r="r" b="b"/>
                <a:pathLst>
                  <a:path w="451" h="79">
                    <a:moveTo>
                      <a:pt x="0" y="0"/>
                    </a:moveTo>
                    <a:lnTo>
                      <a:pt x="0" y="0"/>
                    </a:lnTo>
                    <a:lnTo>
                      <a:pt x="451" y="79"/>
                    </a:lnTo>
                    <a:lnTo>
                      <a:pt x="451" y="79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2" name="Freeform 282"/>
              <p:cNvSpPr>
                <a:spLocks/>
              </p:cNvSpPr>
              <p:nvPr userDrawn="1"/>
            </p:nvSpPr>
            <p:spPr bwMode="auto">
              <a:xfrm>
                <a:off x="8936038" y="2216815"/>
                <a:ext cx="495300" cy="487363"/>
              </a:xfrm>
              <a:custGeom>
                <a:avLst/>
                <a:gdLst/>
                <a:ahLst/>
                <a:cxnLst>
                  <a:cxn ang="0">
                    <a:pos x="253" y="0"/>
                  </a:cxn>
                  <a:cxn ang="0">
                    <a:pos x="0" y="181"/>
                  </a:cxn>
                  <a:cxn ang="0">
                    <a:pos x="130" y="307"/>
                  </a:cxn>
                  <a:cxn ang="0">
                    <a:pos x="312" y="101"/>
                  </a:cxn>
                  <a:cxn ang="0">
                    <a:pos x="253" y="0"/>
                  </a:cxn>
                </a:cxnLst>
                <a:rect l="0" t="0" r="r" b="b"/>
                <a:pathLst>
                  <a:path w="312" h="307">
                    <a:moveTo>
                      <a:pt x="253" y="0"/>
                    </a:moveTo>
                    <a:lnTo>
                      <a:pt x="0" y="181"/>
                    </a:lnTo>
                    <a:lnTo>
                      <a:pt x="130" y="307"/>
                    </a:lnTo>
                    <a:lnTo>
                      <a:pt x="312" y="101"/>
                    </a:lnTo>
                    <a:lnTo>
                      <a:pt x="253" y="0"/>
                    </a:lnTo>
                    <a:close/>
                  </a:path>
                </a:pathLst>
              </a:custGeom>
              <a:gradFill flip="none" rotWithShape="1">
                <a:gsLst>
                  <a:gs pos="8000">
                    <a:srgbClr val="8D516F"/>
                  </a:gs>
                  <a:gs pos="100000">
                    <a:srgbClr val="9D6182">
                      <a:alpha val="70000"/>
                    </a:srgbClr>
                  </a:gs>
                </a:gsLst>
                <a:lin ang="126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3" name="Freeform 284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  <a:close/>
                  </a:path>
                </a:pathLst>
              </a:custGeom>
              <a:solidFill>
                <a:srgbClr val="7744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4" name="Freeform 285"/>
              <p:cNvSpPr>
                <a:spLocks/>
              </p:cNvSpPr>
              <p:nvPr userDrawn="1"/>
            </p:nvSpPr>
            <p:spPr bwMode="auto">
              <a:xfrm>
                <a:off x="7134225" y="2953415"/>
                <a:ext cx="722313" cy="404813"/>
              </a:xfrm>
              <a:custGeom>
                <a:avLst/>
                <a:gdLst/>
                <a:ahLst/>
                <a:cxnLst>
                  <a:cxn ang="0">
                    <a:pos x="455" y="0"/>
                  </a:cxn>
                  <a:cxn ang="0">
                    <a:pos x="0" y="255"/>
                  </a:cxn>
                  <a:cxn ang="0">
                    <a:pos x="380" y="255"/>
                  </a:cxn>
                  <a:cxn ang="0">
                    <a:pos x="455" y="0"/>
                  </a:cxn>
                </a:cxnLst>
                <a:rect l="0" t="0" r="r" b="b"/>
                <a:pathLst>
                  <a:path w="455" h="255">
                    <a:moveTo>
                      <a:pt x="455" y="0"/>
                    </a:moveTo>
                    <a:lnTo>
                      <a:pt x="0" y="255"/>
                    </a:lnTo>
                    <a:lnTo>
                      <a:pt x="380" y="255"/>
                    </a:lnTo>
                    <a:lnTo>
                      <a:pt x="455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5" name="Freeform 286"/>
              <p:cNvSpPr>
                <a:spLocks/>
              </p:cNvSpPr>
              <p:nvPr userDrawn="1"/>
            </p:nvSpPr>
            <p:spPr bwMode="auto">
              <a:xfrm>
                <a:off x="6921500" y="3358227"/>
                <a:ext cx="815975" cy="119063"/>
              </a:xfrm>
              <a:custGeom>
                <a:avLst/>
                <a:gdLst/>
                <a:ahLst/>
                <a:cxnLst>
                  <a:cxn ang="0">
                    <a:pos x="514" y="0"/>
                  </a:cxn>
                  <a:cxn ang="0">
                    <a:pos x="134" y="0"/>
                  </a:cxn>
                  <a:cxn ang="0">
                    <a:pos x="0" y="75"/>
                  </a:cxn>
                  <a:cxn ang="0">
                    <a:pos x="514" y="0"/>
                  </a:cxn>
                </a:cxnLst>
                <a:rect l="0" t="0" r="r" b="b"/>
                <a:pathLst>
                  <a:path w="514" h="75">
                    <a:moveTo>
                      <a:pt x="514" y="0"/>
                    </a:moveTo>
                    <a:lnTo>
                      <a:pt x="134" y="0"/>
                    </a:lnTo>
                    <a:lnTo>
                      <a:pt x="0" y="75"/>
                    </a:lnTo>
                    <a:lnTo>
                      <a:pt x="514" y="0"/>
                    </a:lnTo>
                    <a:close/>
                  </a:path>
                </a:pathLst>
              </a:custGeom>
              <a:solidFill>
                <a:srgbClr val="602A4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6" name="Freeform 288"/>
              <p:cNvSpPr>
                <a:spLocks/>
              </p:cNvSpPr>
              <p:nvPr userDrawn="1"/>
            </p:nvSpPr>
            <p:spPr bwMode="auto">
              <a:xfrm>
                <a:off x="9293225" y="1799302"/>
                <a:ext cx="612775" cy="417513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0" y="218"/>
                  </a:cxn>
                  <a:cxn ang="0">
                    <a:pos x="28" y="263"/>
                  </a:cxn>
                  <a:cxn ang="0">
                    <a:pos x="386" y="8"/>
                  </a:cxn>
                  <a:cxn ang="0">
                    <a:pos x="386" y="0"/>
                  </a:cxn>
                </a:cxnLst>
                <a:rect l="0" t="0" r="r" b="b"/>
                <a:pathLst>
                  <a:path w="386" h="263">
                    <a:moveTo>
                      <a:pt x="386" y="0"/>
                    </a:moveTo>
                    <a:lnTo>
                      <a:pt x="0" y="218"/>
                    </a:lnTo>
                    <a:lnTo>
                      <a:pt x="28" y="263"/>
                    </a:lnTo>
                    <a:lnTo>
                      <a:pt x="386" y="8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7" name="Freeform 290"/>
              <p:cNvSpPr>
                <a:spLocks/>
              </p:cNvSpPr>
              <p:nvPr userDrawn="1"/>
            </p:nvSpPr>
            <p:spPr bwMode="auto">
              <a:xfrm>
                <a:off x="7737475" y="2402552"/>
                <a:ext cx="1198563" cy="955675"/>
              </a:xfrm>
              <a:custGeom>
                <a:avLst/>
                <a:gdLst/>
                <a:ahLst/>
                <a:cxnLst>
                  <a:cxn ang="0">
                    <a:pos x="690" y="0"/>
                  </a:cxn>
                  <a:cxn ang="0">
                    <a:pos x="75" y="347"/>
                  </a:cxn>
                  <a:cxn ang="0">
                    <a:pos x="0" y="602"/>
                  </a:cxn>
                  <a:cxn ang="0">
                    <a:pos x="755" y="64"/>
                  </a:cxn>
                  <a:cxn ang="0">
                    <a:pos x="690" y="0"/>
                  </a:cxn>
                </a:cxnLst>
                <a:rect l="0" t="0" r="r" b="b"/>
                <a:pathLst>
                  <a:path w="755" h="602">
                    <a:moveTo>
                      <a:pt x="690" y="0"/>
                    </a:moveTo>
                    <a:lnTo>
                      <a:pt x="75" y="347"/>
                    </a:lnTo>
                    <a:lnTo>
                      <a:pt x="0" y="602"/>
                    </a:lnTo>
                    <a:lnTo>
                      <a:pt x="755" y="64"/>
                    </a:lnTo>
                    <a:lnTo>
                      <a:pt x="6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8" name="Freeform 292"/>
              <p:cNvSpPr>
                <a:spLocks/>
              </p:cNvSpPr>
              <p:nvPr userDrawn="1"/>
            </p:nvSpPr>
            <p:spPr bwMode="auto">
              <a:xfrm>
                <a:off x="8832850" y="2145377"/>
                <a:ext cx="504825" cy="358775"/>
              </a:xfrm>
              <a:custGeom>
                <a:avLst/>
                <a:gdLst/>
                <a:ahLst/>
                <a:cxnLst>
                  <a:cxn ang="0">
                    <a:pos x="290" y="0"/>
                  </a:cxn>
                  <a:cxn ang="0">
                    <a:pos x="0" y="162"/>
                  </a:cxn>
                  <a:cxn ang="0">
                    <a:pos x="65" y="226"/>
                  </a:cxn>
                  <a:cxn ang="0">
                    <a:pos x="318" y="45"/>
                  </a:cxn>
                  <a:cxn ang="0">
                    <a:pos x="290" y="0"/>
                  </a:cxn>
                </a:cxnLst>
                <a:rect l="0" t="0" r="r" b="b"/>
                <a:pathLst>
                  <a:path w="318" h="226">
                    <a:moveTo>
                      <a:pt x="290" y="0"/>
                    </a:moveTo>
                    <a:lnTo>
                      <a:pt x="0" y="162"/>
                    </a:lnTo>
                    <a:lnTo>
                      <a:pt x="65" y="226"/>
                    </a:lnTo>
                    <a:lnTo>
                      <a:pt x="318" y="45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8D516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9" name="Freeform 294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8EA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0" name="Freeform 295"/>
              <p:cNvSpPr>
                <a:spLocks/>
              </p:cNvSpPr>
              <p:nvPr userDrawn="1"/>
            </p:nvSpPr>
            <p:spPr bwMode="auto">
              <a:xfrm>
                <a:off x="9164638" y="3607465"/>
                <a:ext cx="741363" cy="879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374"/>
                  </a:cxn>
                  <a:cxn ang="0">
                    <a:pos x="10" y="427"/>
                  </a:cxn>
                  <a:cxn ang="0">
                    <a:pos x="293" y="554"/>
                  </a:cxn>
                  <a:cxn ang="0">
                    <a:pos x="467" y="194"/>
                  </a:cxn>
                  <a:cxn ang="0">
                    <a:pos x="467" y="83"/>
                  </a:cxn>
                  <a:cxn ang="0">
                    <a:pos x="0" y="0"/>
                  </a:cxn>
                </a:cxnLst>
                <a:rect l="0" t="0" r="r" b="b"/>
                <a:pathLst>
                  <a:path w="467" h="554">
                    <a:moveTo>
                      <a:pt x="0" y="0"/>
                    </a:moveTo>
                    <a:lnTo>
                      <a:pt x="8" y="374"/>
                    </a:lnTo>
                    <a:lnTo>
                      <a:pt x="10" y="427"/>
                    </a:lnTo>
                    <a:lnTo>
                      <a:pt x="293" y="554"/>
                    </a:lnTo>
                    <a:lnTo>
                      <a:pt x="467" y="194"/>
                    </a:lnTo>
                    <a:lnTo>
                      <a:pt x="467" y="8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1" name="Freeform 296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000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2" name="Freeform 297"/>
              <p:cNvSpPr>
                <a:spLocks/>
              </p:cNvSpPr>
              <p:nvPr userDrawn="1"/>
            </p:nvSpPr>
            <p:spPr bwMode="auto">
              <a:xfrm>
                <a:off x="9177338" y="4201190"/>
                <a:ext cx="3175" cy="841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3"/>
                  </a:cxn>
                  <a:cxn ang="0">
                    <a:pos x="2" y="53"/>
                  </a:cxn>
                  <a:cxn ang="0">
                    <a:pos x="0" y="0"/>
                  </a:cxn>
                </a:cxnLst>
                <a:rect l="0" t="0" r="r" b="b"/>
                <a:pathLst>
                  <a:path w="2" h="53">
                    <a:moveTo>
                      <a:pt x="0" y="0"/>
                    </a:moveTo>
                    <a:lnTo>
                      <a:pt x="2" y="53"/>
                    </a:lnTo>
                    <a:lnTo>
                      <a:pt x="2" y="53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3" name="Freeform 298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8E516E"/>
                  </a:gs>
                  <a:gs pos="31000">
                    <a:srgbClr val="95414F">
                      <a:alpha val="56000"/>
                    </a:srgbClr>
                  </a:gs>
                  <a:gs pos="95000">
                    <a:srgbClr val="8E516E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4" name="Freeform 299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449263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283" y="127"/>
                  </a:cxn>
                  <a:cxn ang="0">
                    <a:pos x="0" y="0"/>
                  </a:cxn>
                </a:cxnLst>
                <a:rect l="0" t="0" r="r" b="b"/>
                <a:pathLst>
                  <a:path w="283" h="137">
                    <a:moveTo>
                      <a:pt x="0" y="0"/>
                    </a:moveTo>
                    <a:lnTo>
                      <a:pt x="2" y="137"/>
                    </a:lnTo>
                    <a:lnTo>
                      <a:pt x="283" y="127"/>
                    </a:lnTo>
                    <a:lnTo>
                      <a:pt x="0" y="0"/>
                    </a:lnTo>
                  </a:path>
                </a:pathLst>
              </a:custGeom>
              <a:gradFill flip="none" rotWithShape="1">
                <a:gsLst>
                  <a:gs pos="38000">
                    <a:srgbClr val="9D6182">
                      <a:alpha val="54000"/>
                    </a:srgbClr>
                  </a:gs>
                  <a:gs pos="100000">
                    <a:srgbClr val="77445E">
                      <a:alpha val="74000"/>
                    </a:srgbClr>
                  </a:gs>
                </a:gsLst>
                <a:lin ang="2400000" scaled="0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5" name="Freeform 300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E000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6" name="Freeform 301"/>
              <p:cNvSpPr>
                <a:spLocks/>
              </p:cNvSpPr>
              <p:nvPr userDrawn="1"/>
            </p:nvSpPr>
            <p:spPr bwMode="auto">
              <a:xfrm>
                <a:off x="9180513" y="4285327"/>
                <a:ext cx="3175" cy="217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7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37">
                    <a:moveTo>
                      <a:pt x="0" y="0"/>
                    </a:moveTo>
                    <a:lnTo>
                      <a:pt x="2" y="137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7" name="Freeform 302"/>
              <p:cNvSpPr>
                <a:spLocks/>
              </p:cNvSpPr>
              <p:nvPr userDrawn="1"/>
            </p:nvSpPr>
            <p:spPr bwMode="auto">
              <a:xfrm>
                <a:off x="8907463" y="1500852"/>
                <a:ext cx="998538" cy="2730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3" y="172"/>
                  </a:cxn>
                  <a:cxn ang="0">
                    <a:pos x="629" y="162"/>
                  </a:cxn>
                  <a:cxn ang="0">
                    <a:pos x="629" y="148"/>
                  </a:cxn>
                  <a:cxn ang="0">
                    <a:pos x="0" y="0"/>
                  </a:cxn>
                </a:cxnLst>
                <a:rect l="0" t="0" r="r" b="b"/>
                <a:pathLst>
                  <a:path w="629" h="172">
                    <a:moveTo>
                      <a:pt x="0" y="0"/>
                    </a:moveTo>
                    <a:lnTo>
                      <a:pt x="0" y="0"/>
                    </a:lnTo>
                    <a:lnTo>
                      <a:pt x="103" y="172"/>
                    </a:lnTo>
                    <a:lnTo>
                      <a:pt x="629" y="162"/>
                    </a:lnTo>
                    <a:lnTo>
                      <a:pt x="629" y="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D61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118790" name="Line 6"/>
            <p:cNvSpPr>
              <a:spLocks noChangeShapeType="1"/>
            </p:cNvSpPr>
            <p:nvPr userDrawn="1"/>
          </p:nvSpPr>
          <p:spPr bwMode="auto">
            <a:xfrm flipH="1">
              <a:off x="9436893" y="1844781"/>
              <a:ext cx="469105" cy="5340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1" name="Freeform 7"/>
            <p:cNvSpPr>
              <a:spLocks/>
            </p:cNvSpPr>
            <p:nvPr userDrawn="1"/>
          </p:nvSpPr>
          <p:spPr bwMode="auto">
            <a:xfrm>
              <a:off x="6707187" y="1517650"/>
              <a:ext cx="3189288" cy="3371850"/>
            </a:xfrm>
            <a:custGeom>
              <a:avLst/>
              <a:gdLst>
                <a:gd name="connsiteX0" fmla="*/ 0 w 10000"/>
                <a:gd name="connsiteY0" fmla="*/ 10000 h 10000"/>
                <a:gd name="connsiteX1" fmla="*/ 683 w 10000"/>
                <a:gd name="connsiteY1" fmla="*/ 5766 h 10000"/>
                <a:gd name="connsiteX2" fmla="*/ 4440 w 10000"/>
                <a:gd name="connsiteY2" fmla="*/ 0 h 10000"/>
                <a:gd name="connsiteX3" fmla="*/ 10000 w 10000"/>
                <a:gd name="connsiteY3" fmla="*/ 69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228" y="8589"/>
                    <a:pt x="455" y="7177"/>
                    <a:pt x="683" y="5766"/>
                  </a:cubicBezTo>
                  <a:lnTo>
                    <a:pt x="4440" y="0"/>
                  </a:lnTo>
                  <a:lnTo>
                    <a:pt x="10000" y="69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2" name="Freeform 8"/>
            <p:cNvSpPr>
              <a:spLocks/>
            </p:cNvSpPr>
            <p:nvPr userDrawn="1"/>
          </p:nvSpPr>
          <p:spPr bwMode="auto">
            <a:xfrm>
              <a:off x="8123237" y="1517649"/>
              <a:ext cx="1314476" cy="1950064"/>
            </a:xfrm>
            <a:custGeom>
              <a:avLst/>
              <a:gdLst>
                <a:gd name="connsiteX0" fmla="*/ 3807 w 10000"/>
                <a:gd name="connsiteY0" fmla="*/ 9977 h 9977"/>
                <a:gd name="connsiteX1" fmla="*/ 10000 w 10000"/>
                <a:gd name="connsiteY1" fmla="*/ 5214 h 9977"/>
                <a:gd name="connsiteX2" fmla="*/ 0 w 10000"/>
                <a:gd name="connsiteY2" fmla="*/ 0 h 9977"/>
                <a:gd name="connsiteX0" fmla="*/ 3807 w 10000"/>
                <a:gd name="connsiteY0" fmla="*/ 10000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309 w 10000"/>
                <a:gd name="connsiteY0" fmla="*/ 9348 h 10757"/>
                <a:gd name="connsiteX1" fmla="*/ 2677 w 10000"/>
                <a:gd name="connsiteY1" fmla="*/ 10753 h 10757"/>
                <a:gd name="connsiteX2" fmla="*/ 10000 w 10000"/>
                <a:gd name="connsiteY2" fmla="*/ 5226 h 10757"/>
                <a:gd name="connsiteX3" fmla="*/ 0 w 10000"/>
                <a:gd name="connsiteY3" fmla="*/ 0 h 10757"/>
                <a:gd name="connsiteX0" fmla="*/ 2677 w 10000"/>
                <a:gd name="connsiteY0" fmla="*/ 10753 h 10753"/>
                <a:gd name="connsiteX1" fmla="*/ 10000 w 10000"/>
                <a:gd name="connsiteY1" fmla="*/ 5226 h 10753"/>
                <a:gd name="connsiteX2" fmla="*/ 0 w 10000"/>
                <a:gd name="connsiteY2" fmla="*/ 0 h 10753"/>
                <a:gd name="connsiteX0" fmla="*/ 2677 w 10602"/>
                <a:gd name="connsiteY0" fmla="*/ 10753 h 10753"/>
                <a:gd name="connsiteX1" fmla="*/ 10602 w 10602"/>
                <a:gd name="connsiteY1" fmla="*/ 4781 h 10753"/>
                <a:gd name="connsiteX2" fmla="*/ 0 w 10602"/>
                <a:gd name="connsiteY2" fmla="*/ 0 h 1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02" h="10753">
                  <a:moveTo>
                    <a:pt x="2677" y="10753"/>
                  </a:moveTo>
                  <a:lnTo>
                    <a:pt x="10602" y="478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3" name="Line 9"/>
            <p:cNvSpPr>
              <a:spLocks noChangeShapeType="1"/>
            </p:cNvSpPr>
            <p:nvPr userDrawn="1"/>
          </p:nvSpPr>
          <p:spPr bwMode="auto">
            <a:xfrm>
              <a:off x="6958012" y="3476625"/>
              <a:ext cx="2193925" cy="18557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4" name="Freeform 10"/>
            <p:cNvSpPr>
              <a:spLocks/>
            </p:cNvSpPr>
            <p:nvPr userDrawn="1"/>
          </p:nvSpPr>
          <p:spPr bwMode="auto">
            <a:xfrm>
              <a:off x="979755" y="2067452"/>
              <a:ext cx="8463254" cy="3291094"/>
            </a:xfrm>
            <a:custGeom>
              <a:avLst/>
              <a:gdLst>
                <a:gd name="connsiteX0" fmla="*/ 467 w 10000"/>
                <a:gd name="connsiteY0" fmla="*/ 0 h 9881"/>
                <a:gd name="connsiteX1" fmla="*/ 2027 w 10000"/>
                <a:gd name="connsiteY1" fmla="*/ 3291 h 9881"/>
                <a:gd name="connsiteX2" fmla="*/ 3508 w 10000"/>
                <a:gd name="connsiteY2" fmla="*/ 1076 h 9881"/>
                <a:gd name="connsiteX3" fmla="*/ 7135 w 10000"/>
                <a:gd name="connsiteY3" fmla="*/ 4066 h 9881"/>
                <a:gd name="connsiteX4" fmla="*/ 10000 w 10000"/>
                <a:gd name="connsiteY4" fmla="*/ 1130 h 9881"/>
                <a:gd name="connsiteX5" fmla="*/ 9749 w 10000"/>
                <a:gd name="connsiteY5" fmla="*/ 9453 h 9881"/>
                <a:gd name="connsiteX6" fmla="*/ 8972 w 10000"/>
                <a:gd name="connsiteY6" fmla="*/ 3628 h 9881"/>
                <a:gd name="connsiteX7" fmla="*/ 6836 w 10000"/>
                <a:gd name="connsiteY7" fmla="*/ 8168 h 9881"/>
                <a:gd name="connsiteX8" fmla="*/ 3508 w 10000"/>
                <a:gd name="connsiteY8" fmla="*/ 1076 h 9881"/>
                <a:gd name="connsiteX9" fmla="*/ 5359 w 10000"/>
                <a:gd name="connsiteY9" fmla="*/ 9881 h 9881"/>
                <a:gd name="connsiteX10" fmla="*/ 5359 w 10000"/>
                <a:gd name="connsiteY10" fmla="*/ 9881 h 9881"/>
                <a:gd name="connsiteX11" fmla="*/ 2030 w 10000"/>
                <a:gd name="connsiteY11" fmla="*/ 3255 h 9881"/>
                <a:gd name="connsiteX12" fmla="*/ 0 w 10000"/>
                <a:gd name="connsiteY12" fmla="*/ 9271 h 9881"/>
                <a:gd name="connsiteX13" fmla="*/ 3508 w 10000"/>
                <a:gd name="connsiteY13" fmla="*/ 1076 h 9881"/>
                <a:gd name="connsiteX0" fmla="*/ 467 w 10000"/>
                <a:gd name="connsiteY0" fmla="*/ 0 h 10000"/>
                <a:gd name="connsiteX1" fmla="*/ 2027 w 10000"/>
                <a:gd name="connsiteY1" fmla="*/ 3331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5 w 10000"/>
                <a:gd name="connsiteY11" fmla="*/ 3239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22 w 10000"/>
                <a:gd name="connsiteY11" fmla="*/ 3221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7 w 10000"/>
                <a:gd name="connsiteY0" fmla="*/ 0 h 10000"/>
                <a:gd name="connsiteX1" fmla="*/ 2045 w 10000"/>
                <a:gd name="connsiteY1" fmla="*/ 3257 h 10000"/>
                <a:gd name="connsiteX2" fmla="*/ 3508 w 10000"/>
                <a:gd name="connsiteY2" fmla="*/ 1089 h 10000"/>
                <a:gd name="connsiteX3" fmla="*/ 7135 w 10000"/>
                <a:gd name="connsiteY3" fmla="*/ 4115 h 10000"/>
                <a:gd name="connsiteX4" fmla="*/ 10000 w 10000"/>
                <a:gd name="connsiteY4" fmla="*/ 1144 h 10000"/>
                <a:gd name="connsiteX5" fmla="*/ 9749 w 10000"/>
                <a:gd name="connsiteY5" fmla="*/ 9567 h 10000"/>
                <a:gd name="connsiteX6" fmla="*/ 8972 w 10000"/>
                <a:gd name="connsiteY6" fmla="*/ 3672 h 10000"/>
                <a:gd name="connsiteX7" fmla="*/ 6836 w 10000"/>
                <a:gd name="connsiteY7" fmla="*/ 8266 h 10000"/>
                <a:gd name="connsiteX8" fmla="*/ 3508 w 10000"/>
                <a:gd name="connsiteY8" fmla="*/ 1089 h 10000"/>
                <a:gd name="connsiteX9" fmla="*/ 5359 w 10000"/>
                <a:gd name="connsiteY9" fmla="*/ 10000 h 10000"/>
                <a:gd name="connsiteX10" fmla="*/ 5359 w 10000"/>
                <a:gd name="connsiteY10" fmla="*/ 10000 h 10000"/>
                <a:gd name="connsiteX11" fmla="*/ 2044 w 10000"/>
                <a:gd name="connsiteY11" fmla="*/ 3274 h 10000"/>
                <a:gd name="connsiteX12" fmla="*/ 0 w 10000"/>
                <a:gd name="connsiteY12" fmla="*/ 9383 h 10000"/>
                <a:gd name="connsiteX13" fmla="*/ 3508 w 10000"/>
                <a:gd name="connsiteY13" fmla="*/ 1089 h 10000"/>
                <a:gd name="connsiteX0" fmla="*/ 461 w 9994"/>
                <a:gd name="connsiteY0" fmla="*/ 0 h 10000"/>
                <a:gd name="connsiteX1" fmla="*/ 2039 w 9994"/>
                <a:gd name="connsiteY1" fmla="*/ 3257 h 10000"/>
                <a:gd name="connsiteX2" fmla="*/ 3502 w 9994"/>
                <a:gd name="connsiteY2" fmla="*/ 1089 h 10000"/>
                <a:gd name="connsiteX3" fmla="*/ 7129 w 9994"/>
                <a:gd name="connsiteY3" fmla="*/ 4115 h 10000"/>
                <a:gd name="connsiteX4" fmla="*/ 9994 w 9994"/>
                <a:gd name="connsiteY4" fmla="*/ 1144 h 10000"/>
                <a:gd name="connsiteX5" fmla="*/ 9743 w 9994"/>
                <a:gd name="connsiteY5" fmla="*/ 9567 h 10000"/>
                <a:gd name="connsiteX6" fmla="*/ 8966 w 9994"/>
                <a:gd name="connsiteY6" fmla="*/ 3672 h 10000"/>
                <a:gd name="connsiteX7" fmla="*/ 6830 w 9994"/>
                <a:gd name="connsiteY7" fmla="*/ 8266 h 10000"/>
                <a:gd name="connsiteX8" fmla="*/ 3502 w 9994"/>
                <a:gd name="connsiteY8" fmla="*/ 1089 h 10000"/>
                <a:gd name="connsiteX9" fmla="*/ 5353 w 9994"/>
                <a:gd name="connsiteY9" fmla="*/ 10000 h 10000"/>
                <a:gd name="connsiteX10" fmla="*/ 5353 w 9994"/>
                <a:gd name="connsiteY10" fmla="*/ 10000 h 10000"/>
                <a:gd name="connsiteX11" fmla="*/ 2038 w 9994"/>
                <a:gd name="connsiteY11" fmla="*/ 3274 h 10000"/>
                <a:gd name="connsiteX12" fmla="*/ 0 w 9994"/>
                <a:gd name="connsiteY12" fmla="*/ 9312 h 10000"/>
                <a:gd name="connsiteX13" fmla="*/ 3502 w 9994"/>
                <a:gd name="connsiteY13" fmla="*/ 1089 h 10000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9 w 10000"/>
                <a:gd name="connsiteY11" fmla="*/ 3291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40 w 10000"/>
                <a:gd name="connsiteY1" fmla="*/ 3274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4 w 10000"/>
                <a:gd name="connsiteY7" fmla="*/ 8283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43 w 10000"/>
                <a:gd name="connsiteY7" fmla="*/ 823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5356 w 10000"/>
                <a:gd name="connsiteY10" fmla="*/ 10017 h 10017"/>
                <a:gd name="connsiteX11" fmla="*/ 2032 w 10000"/>
                <a:gd name="connsiteY11" fmla="*/ 3324 h 10017"/>
                <a:gd name="connsiteX12" fmla="*/ 0 w 10000"/>
                <a:gd name="connsiteY12" fmla="*/ 9329 h 10017"/>
                <a:gd name="connsiteX13" fmla="*/ 3504 w 10000"/>
                <a:gd name="connsiteY13" fmla="*/ 1106 h 10017"/>
                <a:gd name="connsiteX0" fmla="*/ 487 w 10000"/>
                <a:gd name="connsiteY0" fmla="*/ 0 h 10280"/>
                <a:gd name="connsiteX1" fmla="*/ 2036 w 10000"/>
                <a:gd name="connsiteY1" fmla="*/ 3258 h 10280"/>
                <a:gd name="connsiteX2" fmla="*/ 3504 w 10000"/>
                <a:gd name="connsiteY2" fmla="*/ 1106 h 10280"/>
                <a:gd name="connsiteX3" fmla="*/ 7133 w 10000"/>
                <a:gd name="connsiteY3" fmla="*/ 4132 h 10280"/>
                <a:gd name="connsiteX4" fmla="*/ 10000 w 10000"/>
                <a:gd name="connsiteY4" fmla="*/ 1161 h 10280"/>
                <a:gd name="connsiteX5" fmla="*/ 9749 w 10000"/>
                <a:gd name="connsiteY5" fmla="*/ 9584 h 10280"/>
                <a:gd name="connsiteX6" fmla="*/ 8971 w 10000"/>
                <a:gd name="connsiteY6" fmla="*/ 3689 h 10280"/>
                <a:gd name="connsiteX7" fmla="*/ 6838 w 10000"/>
                <a:gd name="connsiteY7" fmla="*/ 8194 h 10280"/>
                <a:gd name="connsiteX8" fmla="*/ 3504 w 10000"/>
                <a:gd name="connsiteY8" fmla="*/ 1106 h 10280"/>
                <a:gd name="connsiteX9" fmla="*/ 5356 w 10000"/>
                <a:gd name="connsiteY9" fmla="*/ 10017 h 10280"/>
                <a:gd name="connsiteX10" fmla="*/ 5431 w 10000"/>
                <a:gd name="connsiteY10" fmla="*/ 10280 h 10280"/>
                <a:gd name="connsiteX11" fmla="*/ 2032 w 10000"/>
                <a:gd name="connsiteY11" fmla="*/ 3324 h 10280"/>
                <a:gd name="connsiteX12" fmla="*/ 0 w 10000"/>
                <a:gd name="connsiteY12" fmla="*/ 9329 h 10280"/>
                <a:gd name="connsiteX13" fmla="*/ 3504 w 10000"/>
                <a:gd name="connsiteY13" fmla="*/ 1106 h 10280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387"/>
                <a:gd name="connsiteX1" fmla="*/ 2036 w 10000"/>
                <a:gd name="connsiteY1" fmla="*/ 3258 h 10387"/>
                <a:gd name="connsiteX2" fmla="*/ 3504 w 10000"/>
                <a:gd name="connsiteY2" fmla="*/ 1106 h 10387"/>
                <a:gd name="connsiteX3" fmla="*/ 7133 w 10000"/>
                <a:gd name="connsiteY3" fmla="*/ 4132 h 10387"/>
                <a:gd name="connsiteX4" fmla="*/ 10000 w 10000"/>
                <a:gd name="connsiteY4" fmla="*/ 1161 h 10387"/>
                <a:gd name="connsiteX5" fmla="*/ 9749 w 10000"/>
                <a:gd name="connsiteY5" fmla="*/ 9584 h 10387"/>
                <a:gd name="connsiteX6" fmla="*/ 8971 w 10000"/>
                <a:gd name="connsiteY6" fmla="*/ 3689 h 10387"/>
                <a:gd name="connsiteX7" fmla="*/ 6838 w 10000"/>
                <a:gd name="connsiteY7" fmla="*/ 8194 h 10387"/>
                <a:gd name="connsiteX8" fmla="*/ 3504 w 10000"/>
                <a:gd name="connsiteY8" fmla="*/ 1106 h 10387"/>
                <a:gd name="connsiteX9" fmla="*/ 5356 w 10000"/>
                <a:gd name="connsiteY9" fmla="*/ 10017 h 10387"/>
                <a:gd name="connsiteX10" fmla="*/ 2032 w 10000"/>
                <a:gd name="connsiteY10" fmla="*/ 3324 h 10387"/>
                <a:gd name="connsiteX11" fmla="*/ 0 w 10000"/>
                <a:gd name="connsiteY11" fmla="*/ 9329 h 10387"/>
                <a:gd name="connsiteX12" fmla="*/ 3504 w 10000"/>
                <a:gd name="connsiteY12" fmla="*/ 1106 h 1038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10017"/>
                <a:gd name="connsiteX1" fmla="*/ 2036 w 10000"/>
                <a:gd name="connsiteY1" fmla="*/ 3258 h 10017"/>
                <a:gd name="connsiteX2" fmla="*/ 3504 w 10000"/>
                <a:gd name="connsiteY2" fmla="*/ 1106 h 10017"/>
                <a:gd name="connsiteX3" fmla="*/ 7133 w 10000"/>
                <a:gd name="connsiteY3" fmla="*/ 4132 h 10017"/>
                <a:gd name="connsiteX4" fmla="*/ 10000 w 10000"/>
                <a:gd name="connsiteY4" fmla="*/ 1161 h 10017"/>
                <a:gd name="connsiteX5" fmla="*/ 9749 w 10000"/>
                <a:gd name="connsiteY5" fmla="*/ 9584 h 10017"/>
                <a:gd name="connsiteX6" fmla="*/ 8971 w 10000"/>
                <a:gd name="connsiteY6" fmla="*/ 3689 h 10017"/>
                <a:gd name="connsiteX7" fmla="*/ 6838 w 10000"/>
                <a:gd name="connsiteY7" fmla="*/ 8194 h 10017"/>
                <a:gd name="connsiteX8" fmla="*/ 3504 w 10000"/>
                <a:gd name="connsiteY8" fmla="*/ 1106 h 10017"/>
                <a:gd name="connsiteX9" fmla="*/ 5356 w 10000"/>
                <a:gd name="connsiteY9" fmla="*/ 10017 h 10017"/>
                <a:gd name="connsiteX10" fmla="*/ 2032 w 10000"/>
                <a:gd name="connsiteY10" fmla="*/ 3324 h 10017"/>
                <a:gd name="connsiteX11" fmla="*/ 0 w 10000"/>
                <a:gd name="connsiteY11" fmla="*/ 9329 h 10017"/>
                <a:gd name="connsiteX12" fmla="*/ 3504 w 10000"/>
                <a:gd name="connsiteY12" fmla="*/ 1106 h 10017"/>
                <a:gd name="connsiteX0" fmla="*/ 487 w 10000"/>
                <a:gd name="connsiteY0" fmla="*/ 0 h 9584"/>
                <a:gd name="connsiteX1" fmla="*/ 2036 w 10000"/>
                <a:gd name="connsiteY1" fmla="*/ 3258 h 9584"/>
                <a:gd name="connsiteX2" fmla="*/ 3504 w 10000"/>
                <a:gd name="connsiteY2" fmla="*/ 1106 h 9584"/>
                <a:gd name="connsiteX3" fmla="*/ 7133 w 10000"/>
                <a:gd name="connsiteY3" fmla="*/ 4132 h 9584"/>
                <a:gd name="connsiteX4" fmla="*/ 10000 w 10000"/>
                <a:gd name="connsiteY4" fmla="*/ 1161 h 9584"/>
                <a:gd name="connsiteX5" fmla="*/ 9749 w 10000"/>
                <a:gd name="connsiteY5" fmla="*/ 9584 h 9584"/>
                <a:gd name="connsiteX6" fmla="*/ 8971 w 10000"/>
                <a:gd name="connsiteY6" fmla="*/ 3689 h 9584"/>
                <a:gd name="connsiteX7" fmla="*/ 6838 w 10000"/>
                <a:gd name="connsiteY7" fmla="*/ 8194 h 9584"/>
                <a:gd name="connsiteX8" fmla="*/ 3504 w 10000"/>
                <a:gd name="connsiteY8" fmla="*/ 1106 h 9584"/>
                <a:gd name="connsiteX9" fmla="*/ 5297 w 10000"/>
                <a:gd name="connsiteY9" fmla="*/ 9538 h 9584"/>
                <a:gd name="connsiteX10" fmla="*/ 2032 w 10000"/>
                <a:gd name="connsiteY10" fmla="*/ 3324 h 9584"/>
                <a:gd name="connsiteX11" fmla="*/ 0 w 10000"/>
                <a:gd name="connsiteY11" fmla="*/ 9329 h 9584"/>
                <a:gd name="connsiteX12" fmla="*/ 3504 w 10000"/>
                <a:gd name="connsiteY12" fmla="*/ 1106 h 9584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4 w 10000"/>
                <a:gd name="connsiteY8" fmla="*/ 115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626 w 10000"/>
                <a:gd name="connsiteY8" fmla="*/ 1076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40 w 10000"/>
                <a:gd name="connsiteY12" fmla="*/ 857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10 w 10000"/>
                <a:gd name="connsiteY12" fmla="*/ 1144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07 w 10000"/>
                <a:gd name="connsiteY8" fmla="*/ 1144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454 w 10000"/>
                <a:gd name="connsiteY12" fmla="*/ 1076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71 w 10000"/>
                <a:gd name="connsiteY6" fmla="*/ 3849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97 w 10000"/>
                <a:gd name="connsiteY6" fmla="*/ 3793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9068 w 10000"/>
                <a:gd name="connsiteY6" fmla="*/ 38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7 w 10000"/>
                <a:gd name="connsiteY6" fmla="*/ 4248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10000"/>
                <a:gd name="connsiteX1" fmla="*/ 2036 w 10000"/>
                <a:gd name="connsiteY1" fmla="*/ 3399 h 10000"/>
                <a:gd name="connsiteX2" fmla="*/ 3504 w 10000"/>
                <a:gd name="connsiteY2" fmla="*/ 1154 h 10000"/>
                <a:gd name="connsiteX3" fmla="*/ 7133 w 10000"/>
                <a:gd name="connsiteY3" fmla="*/ 4311 h 10000"/>
                <a:gd name="connsiteX4" fmla="*/ 10000 w 10000"/>
                <a:gd name="connsiteY4" fmla="*/ 1211 h 10000"/>
                <a:gd name="connsiteX5" fmla="*/ 9749 w 10000"/>
                <a:gd name="connsiteY5" fmla="*/ 10000 h 10000"/>
                <a:gd name="connsiteX6" fmla="*/ 8915 w 10000"/>
                <a:gd name="connsiteY6" fmla="*/ 4284 h 10000"/>
                <a:gd name="connsiteX7" fmla="*/ 6838 w 10000"/>
                <a:gd name="connsiteY7" fmla="*/ 8550 h 10000"/>
                <a:gd name="connsiteX8" fmla="*/ 3525 w 10000"/>
                <a:gd name="connsiteY8" fmla="*/ 1183 h 10000"/>
                <a:gd name="connsiteX9" fmla="*/ 5297 w 10000"/>
                <a:gd name="connsiteY9" fmla="*/ 9952 h 10000"/>
                <a:gd name="connsiteX10" fmla="*/ 2032 w 10000"/>
                <a:gd name="connsiteY10" fmla="*/ 3468 h 10000"/>
                <a:gd name="connsiteX11" fmla="*/ 0 w 10000"/>
                <a:gd name="connsiteY11" fmla="*/ 9734 h 10000"/>
                <a:gd name="connsiteX12" fmla="*/ 3504 w 10000"/>
                <a:gd name="connsiteY12" fmla="*/ 1151 h 10000"/>
                <a:gd name="connsiteX0" fmla="*/ 487 w 10000"/>
                <a:gd name="connsiteY0" fmla="*/ 0 h 9952"/>
                <a:gd name="connsiteX1" fmla="*/ 2036 w 10000"/>
                <a:gd name="connsiteY1" fmla="*/ 3399 h 9952"/>
                <a:gd name="connsiteX2" fmla="*/ 3504 w 10000"/>
                <a:gd name="connsiteY2" fmla="*/ 1154 h 9952"/>
                <a:gd name="connsiteX3" fmla="*/ 7133 w 10000"/>
                <a:gd name="connsiteY3" fmla="*/ 4311 h 9952"/>
                <a:gd name="connsiteX4" fmla="*/ 10000 w 10000"/>
                <a:gd name="connsiteY4" fmla="*/ 1211 h 9952"/>
                <a:gd name="connsiteX5" fmla="*/ 9786 w 10000"/>
                <a:gd name="connsiteY5" fmla="*/ 9909 h 9952"/>
                <a:gd name="connsiteX6" fmla="*/ 8915 w 10000"/>
                <a:gd name="connsiteY6" fmla="*/ 4284 h 9952"/>
                <a:gd name="connsiteX7" fmla="*/ 6838 w 10000"/>
                <a:gd name="connsiteY7" fmla="*/ 8550 h 9952"/>
                <a:gd name="connsiteX8" fmla="*/ 3525 w 10000"/>
                <a:gd name="connsiteY8" fmla="*/ 1183 h 9952"/>
                <a:gd name="connsiteX9" fmla="*/ 5297 w 10000"/>
                <a:gd name="connsiteY9" fmla="*/ 9952 h 9952"/>
                <a:gd name="connsiteX10" fmla="*/ 2032 w 10000"/>
                <a:gd name="connsiteY10" fmla="*/ 3468 h 9952"/>
                <a:gd name="connsiteX11" fmla="*/ 0 w 10000"/>
                <a:gd name="connsiteY11" fmla="*/ 9734 h 9952"/>
                <a:gd name="connsiteX12" fmla="*/ 3504 w 10000"/>
                <a:gd name="connsiteY12" fmla="*/ 1151 h 9952"/>
                <a:gd name="connsiteX0" fmla="*/ 487 w 10103"/>
                <a:gd name="connsiteY0" fmla="*/ 0 h 10000"/>
                <a:gd name="connsiteX1" fmla="*/ 2036 w 10103"/>
                <a:gd name="connsiteY1" fmla="*/ 3415 h 10000"/>
                <a:gd name="connsiteX2" fmla="*/ 3504 w 10103"/>
                <a:gd name="connsiteY2" fmla="*/ 1160 h 10000"/>
                <a:gd name="connsiteX3" fmla="*/ 7133 w 10103"/>
                <a:gd name="connsiteY3" fmla="*/ 4332 h 10000"/>
                <a:gd name="connsiteX4" fmla="*/ 10103 w 10103"/>
                <a:gd name="connsiteY4" fmla="*/ 970 h 10000"/>
                <a:gd name="connsiteX5" fmla="*/ 9786 w 10103"/>
                <a:gd name="connsiteY5" fmla="*/ 9957 h 10000"/>
                <a:gd name="connsiteX6" fmla="*/ 8915 w 10103"/>
                <a:gd name="connsiteY6" fmla="*/ 4305 h 10000"/>
                <a:gd name="connsiteX7" fmla="*/ 6838 w 10103"/>
                <a:gd name="connsiteY7" fmla="*/ 8591 h 10000"/>
                <a:gd name="connsiteX8" fmla="*/ 3525 w 10103"/>
                <a:gd name="connsiteY8" fmla="*/ 1189 h 10000"/>
                <a:gd name="connsiteX9" fmla="*/ 5297 w 10103"/>
                <a:gd name="connsiteY9" fmla="*/ 10000 h 10000"/>
                <a:gd name="connsiteX10" fmla="*/ 2032 w 10103"/>
                <a:gd name="connsiteY10" fmla="*/ 3485 h 10000"/>
                <a:gd name="connsiteX11" fmla="*/ 0 w 10103"/>
                <a:gd name="connsiteY11" fmla="*/ 9781 h 10000"/>
                <a:gd name="connsiteX12" fmla="*/ 3504 w 10103"/>
                <a:gd name="connsiteY12" fmla="*/ 1157 h 10000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  <a:gd name="connsiteX0" fmla="*/ 487 w 10103"/>
                <a:gd name="connsiteY0" fmla="*/ 0 h 10072"/>
                <a:gd name="connsiteX1" fmla="*/ 2036 w 10103"/>
                <a:gd name="connsiteY1" fmla="*/ 3415 h 10072"/>
                <a:gd name="connsiteX2" fmla="*/ 3504 w 10103"/>
                <a:gd name="connsiteY2" fmla="*/ 1160 h 10072"/>
                <a:gd name="connsiteX3" fmla="*/ 7133 w 10103"/>
                <a:gd name="connsiteY3" fmla="*/ 4332 h 10072"/>
                <a:gd name="connsiteX4" fmla="*/ 10103 w 10103"/>
                <a:gd name="connsiteY4" fmla="*/ 970 h 10072"/>
                <a:gd name="connsiteX5" fmla="*/ 9800 w 10103"/>
                <a:gd name="connsiteY5" fmla="*/ 10072 h 10072"/>
                <a:gd name="connsiteX6" fmla="*/ 8915 w 10103"/>
                <a:gd name="connsiteY6" fmla="*/ 4305 h 10072"/>
                <a:gd name="connsiteX7" fmla="*/ 6838 w 10103"/>
                <a:gd name="connsiteY7" fmla="*/ 8591 h 10072"/>
                <a:gd name="connsiteX8" fmla="*/ 3525 w 10103"/>
                <a:gd name="connsiteY8" fmla="*/ 1189 h 10072"/>
                <a:gd name="connsiteX9" fmla="*/ 5297 w 10103"/>
                <a:gd name="connsiteY9" fmla="*/ 10000 h 10072"/>
                <a:gd name="connsiteX10" fmla="*/ 2032 w 10103"/>
                <a:gd name="connsiteY10" fmla="*/ 3485 h 10072"/>
                <a:gd name="connsiteX11" fmla="*/ 0 w 10103"/>
                <a:gd name="connsiteY11" fmla="*/ 9781 h 10072"/>
                <a:gd name="connsiteX12" fmla="*/ 3504 w 10103"/>
                <a:gd name="connsiteY12" fmla="*/ 1157 h 10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03" h="10072">
                  <a:moveTo>
                    <a:pt x="487" y="0"/>
                  </a:moveTo>
                  <a:lnTo>
                    <a:pt x="2036" y="3415"/>
                  </a:lnTo>
                  <a:lnTo>
                    <a:pt x="3504" y="1160"/>
                  </a:lnTo>
                  <a:lnTo>
                    <a:pt x="7133" y="4332"/>
                  </a:lnTo>
                  <a:lnTo>
                    <a:pt x="10103" y="970"/>
                  </a:lnTo>
                  <a:cubicBezTo>
                    <a:pt x="10019" y="3914"/>
                    <a:pt x="9884" y="7128"/>
                    <a:pt x="9800" y="10072"/>
                  </a:cubicBezTo>
                  <a:cubicBezTo>
                    <a:pt x="9521" y="8106"/>
                    <a:pt x="8989" y="4756"/>
                    <a:pt x="8915" y="4305"/>
                  </a:cubicBezTo>
                  <a:lnTo>
                    <a:pt x="6838" y="8591"/>
                  </a:lnTo>
                  <a:lnTo>
                    <a:pt x="3525" y="1189"/>
                  </a:lnTo>
                  <a:cubicBezTo>
                    <a:pt x="3636" y="1697"/>
                    <a:pt x="5175" y="9512"/>
                    <a:pt x="5297" y="10000"/>
                  </a:cubicBezTo>
                  <a:cubicBezTo>
                    <a:pt x="5259" y="9913"/>
                    <a:pt x="2743" y="4942"/>
                    <a:pt x="2032" y="3485"/>
                  </a:cubicBezTo>
                  <a:lnTo>
                    <a:pt x="0" y="9781"/>
                  </a:lnTo>
                  <a:lnTo>
                    <a:pt x="3504" y="115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5" name="Freeform 11"/>
            <p:cNvSpPr>
              <a:spLocks/>
            </p:cNvSpPr>
            <p:nvPr userDrawn="1"/>
          </p:nvSpPr>
          <p:spPr bwMode="auto">
            <a:xfrm>
              <a:off x="1374775" y="2047876"/>
              <a:ext cx="7793037" cy="3284538"/>
            </a:xfrm>
            <a:custGeom>
              <a:avLst/>
              <a:gdLst>
                <a:gd name="connsiteX0" fmla="*/ 0 w 10000"/>
                <a:gd name="connsiteY0" fmla="*/ 0 h 10000"/>
                <a:gd name="connsiteX1" fmla="*/ 1942 w 10000"/>
                <a:gd name="connsiteY1" fmla="*/ 8391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911 w 10000"/>
                <a:gd name="connsiteY4" fmla="*/ 3954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63 w 10000"/>
                <a:gd name="connsiteY5" fmla="*/ 3857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087 w 10000"/>
                <a:gd name="connsiteY5" fmla="*/ 3984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52 w 10000"/>
                <a:gd name="connsiteY6" fmla="*/ 7040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2 w 10000"/>
                <a:gd name="connsiteY3" fmla="*/ 7040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48 w 10000"/>
                <a:gd name="connsiteY6" fmla="*/ 6648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1 w 10000"/>
                <a:gd name="connsiteY3" fmla="*/ 6662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68 w 10000"/>
                <a:gd name="connsiteY6" fmla="*/ 6687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2 w 10000"/>
                <a:gd name="connsiteY2" fmla="*/ 1209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152 w 10000"/>
                <a:gd name="connsiteY5" fmla="*/ 39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81 w 10000"/>
                <a:gd name="connsiteY5" fmla="*/ 3872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232 w 10000"/>
                <a:gd name="connsiteY5" fmla="*/ 39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0 w 10000"/>
                <a:gd name="connsiteY5" fmla="*/ 4330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9077 w 10000"/>
                <a:gd name="connsiteY5" fmla="*/ 4328 h 10000"/>
                <a:gd name="connsiteX6" fmla="*/ 5535 w 10000"/>
                <a:gd name="connsiteY6" fmla="*/ 6646 h 10000"/>
                <a:gd name="connsiteX7" fmla="*/ 10000 w 10000"/>
                <a:gd name="connsiteY7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82 w 10000"/>
                <a:gd name="connsiteY5" fmla="*/ 4248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03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77 w 10000"/>
                <a:gd name="connsiteY6" fmla="*/ 432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7 w 10000"/>
                <a:gd name="connsiteY1" fmla="*/ 8372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42 w 10000"/>
                <a:gd name="connsiteY1" fmla="*/ 8411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51 w 10000"/>
                <a:gd name="connsiteY1" fmla="*/ 8400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6 w 10000"/>
                <a:gd name="connsiteY1" fmla="*/ 840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35 w 10000"/>
                <a:gd name="connsiteY1" fmla="*/ 8363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  <a:gd name="connsiteX0" fmla="*/ 0 w 10000"/>
                <a:gd name="connsiteY0" fmla="*/ 0 h 10000"/>
                <a:gd name="connsiteX1" fmla="*/ 1929 w 10000"/>
                <a:gd name="connsiteY1" fmla="*/ 8327 h 10000"/>
                <a:gd name="connsiteX2" fmla="*/ 3266 w 10000"/>
                <a:gd name="connsiteY2" fmla="*/ 1183 h 10000"/>
                <a:gd name="connsiteX3" fmla="*/ 5550 w 10000"/>
                <a:gd name="connsiteY3" fmla="*/ 6643 h 10000"/>
                <a:gd name="connsiteX4" fmla="*/ 5895 w 10000"/>
                <a:gd name="connsiteY4" fmla="*/ 4006 h 10000"/>
                <a:gd name="connsiteX5" fmla="*/ 8195 w 10000"/>
                <a:gd name="connsiteY5" fmla="*/ 3986 h 10000"/>
                <a:gd name="connsiteX6" fmla="*/ 9069 w 10000"/>
                <a:gd name="connsiteY6" fmla="*/ 4348 h 10000"/>
                <a:gd name="connsiteX7" fmla="*/ 5535 w 10000"/>
                <a:gd name="connsiteY7" fmla="*/ 6646 h 10000"/>
                <a:gd name="connsiteX8" fmla="*/ 10000 w 10000"/>
                <a:gd name="connsiteY8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929" y="8327"/>
                  </a:lnTo>
                  <a:lnTo>
                    <a:pt x="3266" y="1183"/>
                  </a:lnTo>
                  <a:lnTo>
                    <a:pt x="5550" y="6643"/>
                  </a:lnTo>
                  <a:cubicBezTo>
                    <a:pt x="5670" y="5614"/>
                    <a:pt x="5775" y="5035"/>
                    <a:pt x="5895" y="4006"/>
                  </a:cubicBezTo>
                  <a:lnTo>
                    <a:pt x="8195" y="3986"/>
                  </a:lnTo>
                  <a:lnTo>
                    <a:pt x="9069" y="4348"/>
                  </a:lnTo>
                  <a:lnTo>
                    <a:pt x="5535" y="6646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6" name="Line 12"/>
            <p:cNvSpPr>
              <a:spLocks noChangeShapeType="1"/>
            </p:cNvSpPr>
            <p:nvPr userDrawn="1"/>
          </p:nvSpPr>
          <p:spPr bwMode="auto">
            <a:xfrm flipH="1" flipV="1">
              <a:off x="5965824" y="3363913"/>
              <a:ext cx="739775" cy="149860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7" name="Line 13"/>
            <p:cNvSpPr>
              <a:spLocks noChangeShapeType="1"/>
            </p:cNvSpPr>
            <p:nvPr userDrawn="1"/>
          </p:nvSpPr>
          <p:spPr bwMode="auto">
            <a:xfrm flipH="1" flipV="1">
              <a:off x="2873375" y="4785677"/>
              <a:ext cx="2534444" cy="53022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8" name="Freeform 14"/>
            <p:cNvSpPr>
              <a:spLocks/>
            </p:cNvSpPr>
            <p:nvPr userDrawn="1"/>
          </p:nvSpPr>
          <p:spPr bwMode="auto">
            <a:xfrm>
              <a:off x="9442445" y="2384680"/>
              <a:ext cx="458797" cy="774168"/>
            </a:xfrm>
            <a:custGeom>
              <a:avLst/>
              <a:gdLst>
                <a:gd name="connsiteX0" fmla="*/ 8512 w 8512"/>
                <a:gd name="connsiteY0" fmla="*/ 10921 h 10921"/>
                <a:gd name="connsiteX1" fmla="*/ 0 w 8512"/>
                <a:gd name="connsiteY1" fmla="*/ 0 h 10921"/>
                <a:gd name="connsiteX2" fmla="*/ 8512 w 8512"/>
                <a:gd name="connsiteY2" fmla="*/ 2461 h 10921"/>
                <a:gd name="connsiteX0" fmla="*/ 9948 w 10000"/>
                <a:gd name="connsiteY0" fmla="*/ 7966 h 7966"/>
                <a:gd name="connsiteX1" fmla="*/ 0 w 10000"/>
                <a:gd name="connsiteY1" fmla="*/ 0 h 7966"/>
                <a:gd name="connsiteX2" fmla="*/ 10000 w 10000"/>
                <a:gd name="connsiteY2" fmla="*/ 2253 h 7966"/>
                <a:gd name="connsiteX0" fmla="*/ 10105 w 10105"/>
                <a:gd name="connsiteY0" fmla="*/ 10155 h 10155"/>
                <a:gd name="connsiteX1" fmla="*/ 0 w 10105"/>
                <a:gd name="connsiteY1" fmla="*/ 0 h 10155"/>
                <a:gd name="connsiteX2" fmla="*/ 10000 w 10105"/>
                <a:gd name="connsiteY2" fmla="*/ 2828 h 1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05" h="10155">
                  <a:moveTo>
                    <a:pt x="10105" y="10155"/>
                  </a:moveTo>
                  <a:lnTo>
                    <a:pt x="0" y="0"/>
                  </a:lnTo>
                  <a:lnTo>
                    <a:pt x="10000" y="2828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799" name="Line 15"/>
            <p:cNvSpPr>
              <a:spLocks noChangeShapeType="1"/>
            </p:cNvSpPr>
            <p:nvPr userDrawn="1"/>
          </p:nvSpPr>
          <p:spPr bwMode="auto">
            <a:xfrm flipV="1">
              <a:off x="9151937" y="4446588"/>
              <a:ext cx="744538" cy="90805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0" name="Line 16"/>
            <p:cNvSpPr>
              <a:spLocks noChangeShapeType="1"/>
            </p:cNvSpPr>
            <p:nvPr userDrawn="1"/>
          </p:nvSpPr>
          <p:spPr bwMode="auto">
            <a:xfrm flipH="1" flipV="1">
              <a:off x="8453438" y="3474243"/>
              <a:ext cx="1452562" cy="26432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1" name="Line 17"/>
            <p:cNvSpPr>
              <a:spLocks noChangeShapeType="1"/>
            </p:cNvSpPr>
            <p:nvPr userDrawn="1"/>
          </p:nvSpPr>
          <p:spPr bwMode="auto">
            <a:xfrm flipV="1">
              <a:off x="6705600" y="4073524"/>
              <a:ext cx="3190875" cy="796131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2" name="Freeform 18"/>
            <p:cNvSpPr>
              <a:spLocks/>
            </p:cNvSpPr>
            <p:nvPr userDrawn="1"/>
          </p:nvSpPr>
          <p:spPr bwMode="auto">
            <a:xfrm>
              <a:off x="347662" y="3211751"/>
              <a:ext cx="5618163" cy="1596787"/>
            </a:xfrm>
            <a:custGeom>
              <a:avLst/>
              <a:gdLst>
                <a:gd name="connsiteX0" fmla="*/ 10000 w 10000"/>
                <a:gd name="connsiteY0" fmla="*/ 563 h 5851"/>
                <a:gd name="connsiteX1" fmla="*/ 4496 w 10000"/>
                <a:gd name="connsiteY1" fmla="*/ 5851 h 5851"/>
                <a:gd name="connsiteX2" fmla="*/ 4134 w 10000"/>
                <a:gd name="connsiteY2" fmla="*/ 0 h 5851"/>
                <a:gd name="connsiteX3" fmla="*/ 0 w 10000"/>
                <a:gd name="connsiteY3" fmla="*/ 3771 h 5851"/>
                <a:gd name="connsiteX0" fmla="*/ 10000 w 10000"/>
                <a:gd name="connsiteY0" fmla="*/ 951 h 9989"/>
                <a:gd name="connsiteX1" fmla="*/ 4496 w 10000"/>
                <a:gd name="connsiteY1" fmla="*/ 9989 h 9989"/>
                <a:gd name="connsiteX2" fmla="*/ 4162 w 10000"/>
                <a:gd name="connsiteY2" fmla="*/ 0 h 9989"/>
                <a:gd name="connsiteX3" fmla="*/ 0 w 10000"/>
                <a:gd name="connsiteY3" fmla="*/ 6434 h 9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89">
                  <a:moveTo>
                    <a:pt x="10000" y="951"/>
                  </a:moveTo>
                  <a:lnTo>
                    <a:pt x="4496" y="9989"/>
                  </a:lnTo>
                  <a:cubicBezTo>
                    <a:pt x="4375" y="6656"/>
                    <a:pt x="4283" y="3333"/>
                    <a:pt x="4162" y="0"/>
                  </a:cubicBezTo>
                  <a:lnTo>
                    <a:pt x="0" y="643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3" name="Oval 19"/>
            <p:cNvSpPr>
              <a:spLocks noChangeArrowheads="1"/>
            </p:cNvSpPr>
            <p:nvPr userDrawn="1"/>
          </p:nvSpPr>
          <p:spPr bwMode="auto">
            <a:xfrm>
              <a:off x="6866734" y="3409950"/>
              <a:ext cx="133200" cy="13335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4" name="Oval 20"/>
            <p:cNvSpPr>
              <a:spLocks noChangeArrowheads="1"/>
            </p:cNvSpPr>
            <p:nvPr userDrawn="1"/>
          </p:nvSpPr>
          <p:spPr bwMode="auto">
            <a:xfrm>
              <a:off x="8075612" y="1470025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5" name="Oval 21"/>
            <p:cNvSpPr>
              <a:spLocks noChangeArrowheads="1"/>
            </p:cNvSpPr>
            <p:nvPr userDrawn="1"/>
          </p:nvSpPr>
          <p:spPr bwMode="auto">
            <a:xfrm>
              <a:off x="6656387" y="4826002"/>
              <a:ext cx="98425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6" name="Oval 22"/>
            <p:cNvSpPr>
              <a:spLocks noChangeArrowheads="1"/>
            </p:cNvSpPr>
            <p:nvPr userDrawn="1"/>
          </p:nvSpPr>
          <p:spPr bwMode="auto">
            <a:xfrm>
              <a:off x="9394034" y="2331543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7" name="Freeform 23"/>
            <p:cNvSpPr>
              <a:spLocks/>
            </p:cNvSpPr>
            <p:nvPr userDrawn="1"/>
          </p:nvSpPr>
          <p:spPr bwMode="auto">
            <a:xfrm>
              <a:off x="5338724" y="5262629"/>
              <a:ext cx="150813" cy="151200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29" y="3"/>
                </a:cxn>
                <a:cxn ang="0">
                  <a:pos x="44" y="19"/>
                </a:cxn>
                <a:cxn ang="0">
                  <a:pos x="19" y="44"/>
                </a:cxn>
                <a:cxn ang="0">
                  <a:pos x="4" y="28"/>
                </a:cxn>
              </a:cxnLst>
              <a:rect l="0" t="0" r="r" b="b"/>
              <a:pathLst>
                <a:path w="48" h="47">
                  <a:moveTo>
                    <a:pt x="4" y="28"/>
                  </a:moveTo>
                  <a:cubicBezTo>
                    <a:pt x="0" y="13"/>
                    <a:pt x="14" y="0"/>
                    <a:pt x="29" y="3"/>
                  </a:cubicBezTo>
                  <a:cubicBezTo>
                    <a:pt x="36" y="5"/>
                    <a:pt x="43" y="11"/>
                    <a:pt x="44" y="19"/>
                  </a:cubicBezTo>
                  <a:cubicBezTo>
                    <a:pt x="48" y="34"/>
                    <a:pt x="34" y="47"/>
                    <a:pt x="19" y="44"/>
                  </a:cubicBezTo>
                  <a:cubicBezTo>
                    <a:pt x="12" y="42"/>
                    <a:pt x="5" y="36"/>
                    <a:pt x="4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8" name="Freeform 24"/>
            <p:cNvSpPr>
              <a:spLocks/>
            </p:cNvSpPr>
            <p:nvPr userDrawn="1"/>
          </p:nvSpPr>
          <p:spPr bwMode="auto">
            <a:xfrm>
              <a:off x="1304925" y="2009775"/>
              <a:ext cx="112713" cy="115888"/>
            </a:xfrm>
            <a:custGeom>
              <a:avLst/>
              <a:gdLst/>
              <a:ahLst/>
              <a:cxnLst>
                <a:cxn ang="0">
                  <a:pos x="3" y="23"/>
                </a:cxn>
                <a:cxn ang="0">
                  <a:pos x="22" y="3"/>
                </a:cxn>
                <a:cxn ang="0">
                  <a:pos x="33" y="14"/>
                </a:cxn>
                <a:cxn ang="0">
                  <a:pos x="13" y="33"/>
                </a:cxn>
                <a:cxn ang="0">
                  <a:pos x="3" y="23"/>
                </a:cxn>
              </a:cxnLst>
              <a:rect l="0" t="0" r="r" b="b"/>
              <a:pathLst>
                <a:path w="36" h="37">
                  <a:moveTo>
                    <a:pt x="3" y="23"/>
                  </a:moveTo>
                  <a:cubicBezTo>
                    <a:pt x="0" y="11"/>
                    <a:pt x="10" y="0"/>
                    <a:pt x="22" y="3"/>
                  </a:cubicBezTo>
                  <a:cubicBezTo>
                    <a:pt x="27" y="5"/>
                    <a:pt x="31" y="9"/>
                    <a:pt x="33" y="14"/>
                  </a:cubicBezTo>
                  <a:cubicBezTo>
                    <a:pt x="36" y="26"/>
                    <a:pt x="25" y="37"/>
                    <a:pt x="13" y="33"/>
                  </a:cubicBezTo>
                  <a:cubicBezTo>
                    <a:pt x="8" y="32"/>
                    <a:pt x="4" y="28"/>
                    <a:pt x="3" y="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09" name="Oval 25"/>
            <p:cNvSpPr>
              <a:spLocks noChangeArrowheads="1"/>
            </p:cNvSpPr>
            <p:nvPr userDrawn="1"/>
          </p:nvSpPr>
          <p:spPr bwMode="auto">
            <a:xfrm>
              <a:off x="2622550" y="3143250"/>
              <a:ext cx="98425" cy="984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0" name="Freeform 26"/>
            <p:cNvSpPr>
              <a:spLocks/>
            </p:cNvSpPr>
            <p:nvPr userDrawn="1"/>
          </p:nvSpPr>
          <p:spPr bwMode="auto">
            <a:xfrm>
              <a:off x="928686" y="5207795"/>
              <a:ext cx="115200" cy="115200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19" y="1"/>
                </a:cxn>
                <a:cxn ang="0">
                  <a:pos x="32" y="14"/>
                </a:cxn>
                <a:cxn ang="0">
                  <a:pos x="14" y="31"/>
                </a:cxn>
                <a:cxn ang="0">
                  <a:pos x="2" y="19"/>
                </a:cxn>
              </a:cxnLst>
              <a:rect l="0" t="0" r="r" b="b"/>
              <a:pathLst>
                <a:path w="34" h="33">
                  <a:moveTo>
                    <a:pt x="2" y="19"/>
                  </a:moveTo>
                  <a:cubicBezTo>
                    <a:pt x="0" y="8"/>
                    <a:pt x="9" y="0"/>
                    <a:pt x="19" y="1"/>
                  </a:cubicBezTo>
                  <a:cubicBezTo>
                    <a:pt x="26" y="2"/>
                    <a:pt x="31" y="7"/>
                    <a:pt x="32" y="14"/>
                  </a:cubicBezTo>
                  <a:cubicBezTo>
                    <a:pt x="34" y="24"/>
                    <a:pt x="25" y="33"/>
                    <a:pt x="14" y="31"/>
                  </a:cubicBezTo>
                  <a:cubicBezTo>
                    <a:pt x="8" y="30"/>
                    <a:pt x="3" y="25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1" name="Oval 27"/>
            <p:cNvSpPr>
              <a:spLocks noChangeArrowheads="1"/>
            </p:cNvSpPr>
            <p:nvPr userDrawn="1"/>
          </p:nvSpPr>
          <p:spPr bwMode="auto">
            <a:xfrm>
              <a:off x="306387" y="4192588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2" name="Oval 28"/>
            <p:cNvSpPr>
              <a:spLocks noChangeArrowheads="1"/>
            </p:cNvSpPr>
            <p:nvPr userDrawn="1"/>
          </p:nvSpPr>
          <p:spPr bwMode="auto">
            <a:xfrm>
              <a:off x="8418190" y="3438880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3" name="Oval 29"/>
            <p:cNvSpPr>
              <a:spLocks noChangeArrowheads="1"/>
            </p:cNvSpPr>
            <p:nvPr userDrawn="1"/>
          </p:nvSpPr>
          <p:spPr bwMode="auto">
            <a:xfrm>
              <a:off x="5916612" y="3313113"/>
              <a:ext cx="96838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4" name="Oval 30"/>
            <p:cNvSpPr>
              <a:spLocks noChangeArrowheads="1"/>
            </p:cNvSpPr>
            <p:nvPr userDrawn="1"/>
          </p:nvSpPr>
          <p:spPr bwMode="auto">
            <a:xfrm>
              <a:off x="5650757" y="4177208"/>
              <a:ext cx="97200" cy="968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5" name="Oval 31"/>
            <p:cNvSpPr>
              <a:spLocks noChangeArrowheads="1"/>
            </p:cNvSpPr>
            <p:nvPr userDrawn="1"/>
          </p:nvSpPr>
          <p:spPr bwMode="auto">
            <a:xfrm>
              <a:off x="3881437" y="2411413"/>
              <a:ext cx="66675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6" name="Oval 32"/>
            <p:cNvSpPr>
              <a:spLocks noChangeArrowheads="1"/>
            </p:cNvSpPr>
            <p:nvPr userDrawn="1"/>
          </p:nvSpPr>
          <p:spPr bwMode="auto">
            <a:xfrm>
              <a:off x="9106692" y="5260976"/>
              <a:ext cx="128588" cy="12858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7" name="Oval 33"/>
            <p:cNvSpPr>
              <a:spLocks noChangeArrowheads="1"/>
            </p:cNvSpPr>
            <p:nvPr userDrawn="1"/>
          </p:nvSpPr>
          <p:spPr bwMode="auto">
            <a:xfrm>
              <a:off x="2843211" y="4761708"/>
              <a:ext cx="68400" cy="666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8" name="Line 34"/>
            <p:cNvSpPr>
              <a:spLocks noChangeShapeType="1"/>
            </p:cNvSpPr>
            <p:nvPr userDrawn="1"/>
          </p:nvSpPr>
          <p:spPr bwMode="auto">
            <a:xfrm flipV="1">
              <a:off x="976313" y="4783930"/>
              <a:ext cx="1895475" cy="454819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19" name="Line 35"/>
            <p:cNvSpPr>
              <a:spLocks noChangeShapeType="1"/>
            </p:cNvSpPr>
            <p:nvPr userDrawn="1"/>
          </p:nvSpPr>
          <p:spPr bwMode="auto">
            <a:xfrm>
              <a:off x="4835525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0" name="Line 36"/>
            <p:cNvSpPr>
              <a:spLocks noChangeShapeType="1"/>
            </p:cNvSpPr>
            <p:nvPr userDrawn="1"/>
          </p:nvSpPr>
          <p:spPr bwMode="auto">
            <a:xfrm>
              <a:off x="339248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1" name="Freeform 37"/>
            <p:cNvSpPr>
              <a:spLocks/>
            </p:cNvSpPr>
            <p:nvPr userDrawn="1"/>
          </p:nvSpPr>
          <p:spPr bwMode="auto">
            <a:xfrm>
              <a:off x="1731962" y="4784672"/>
              <a:ext cx="1660525" cy="1128766"/>
            </a:xfrm>
            <a:custGeom>
              <a:avLst/>
              <a:gdLst>
                <a:gd name="connsiteX0" fmla="*/ 0 w 10000"/>
                <a:gd name="connsiteY0" fmla="*/ 10216 h 10216"/>
                <a:gd name="connsiteX1" fmla="*/ 6874 w 10000"/>
                <a:gd name="connsiteY1" fmla="*/ 0 h 10216"/>
                <a:gd name="connsiteX2" fmla="*/ 10000 w 10000"/>
                <a:gd name="connsiteY2" fmla="*/ 10216 h 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216">
                  <a:moveTo>
                    <a:pt x="0" y="10216"/>
                  </a:moveTo>
                  <a:lnTo>
                    <a:pt x="6874" y="0"/>
                  </a:lnTo>
                  <a:lnTo>
                    <a:pt x="10000" y="10216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2" name="Line 38"/>
            <p:cNvSpPr>
              <a:spLocks noChangeShapeType="1"/>
            </p:cNvSpPr>
            <p:nvPr userDrawn="1"/>
          </p:nvSpPr>
          <p:spPr bwMode="auto">
            <a:xfrm>
              <a:off x="1731962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3" name="Line 39"/>
            <p:cNvSpPr>
              <a:spLocks noChangeShapeType="1"/>
            </p:cNvSpPr>
            <p:nvPr userDrawn="1"/>
          </p:nvSpPr>
          <p:spPr bwMode="auto">
            <a:xfrm>
              <a:off x="1354137" y="5913438"/>
              <a:ext cx="1588" cy="15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4" name="Freeform 40"/>
            <p:cNvSpPr>
              <a:spLocks/>
            </p:cNvSpPr>
            <p:nvPr userDrawn="1"/>
          </p:nvSpPr>
          <p:spPr bwMode="auto">
            <a:xfrm>
              <a:off x="-27638" y="2057399"/>
              <a:ext cx="1385135" cy="2157416"/>
            </a:xfrm>
            <a:custGeom>
              <a:avLst/>
              <a:gdLst>
                <a:gd name="connsiteX0" fmla="*/ 114 w 10000"/>
                <a:gd name="connsiteY0" fmla="*/ 9569 h 10000"/>
                <a:gd name="connsiteX1" fmla="*/ 2650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4938 h 10000"/>
                <a:gd name="connsiteX0" fmla="*/ 114 w 10000"/>
                <a:gd name="connsiteY0" fmla="*/ 9569 h 9898"/>
                <a:gd name="connsiteX1" fmla="*/ 2622 w 10000"/>
                <a:gd name="connsiteY1" fmla="*/ 9898 h 9898"/>
                <a:gd name="connsiteX2" fmla="*/ 10000 w 10000"/>
                <a:gd name="connsiteY2" fmla="*/ 0 h 9898"/>
                <a:gd name="connsiteX3" fmla="*/ 0 w 10000"/>
                <a:gd name="connsiteY3" fmla="*/ 4938 h 9898"/>
                <a:gd name="connsiteX0" fmla="*/ 201 w 10087"/>
                <a:gd name="connsiteY0" fmla="*/ 9668 h 10000"/>
                <a:gd name="connsiteX1" fmla="*/ 2709 w 10087"/>
                <a:gd name="connsiteY1" fmla="*/ 10000 h 10000"/>
                <a:gd name="connsiteX2" fmla="*/ 10087 w 10087"/>
                <a:gd name="connsiteY2" fmla="*/ 0 h 10000"/>
                <a:gd name="connsiteX3" fmla="*/ 0 w 10087"/>
                <a:gd name="connsiteY3" fmla="*/ 4989 h 10000"/>
                <a:gd name="connsiteX0" fmla="*/ 201 w 10087"/>
                <a:gd name="connsiteY0" fmla="*/ 9668 h 9971"/>
                <a:gd name="connsiteX1" fmla="*/ 2802 w 10087"/>
                <a:gd name="connsiteY1" fmla="*/ 9971 h 9971"/>
                <a:gd name="connsiteX2" fmla="*/ 10087 w 10087"/>
                <a:gd name="connsiteY2" fmla="*/ 0 h 9971"/>
                <a:gd name="connsiteX3" fmla="*/ 0 w 10087"/>
                <a:gd name="connsiteY3" fmla="*/ 4989 h 9971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00 w 10000"/>
                <a:gd name="connsiteY1" fmla="*/ 969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0000"/>
                <a:gd name="connsiteX1" fmla="*/ 200 w 10000"/>
                <a:gd name="connsiteY1" fmla="*/ 9362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1614"/>
                <a:gd name="connsiteX1" fmla="*/ 2778 w 10000"/>
                <a:gd name="connsiteY1" fmla="*/ 10000 h 11614"/>
                <a:gd name="connsiteX2" fmla="*/ 10000 w 10000"/>
                <a:gd name="connsiteY2" fmla="*/ 0 h 11614"/>
                <a:gd name="connsiteX3" fmla="*/ 0 w 10000"/>
                <a:gd name="connsiteY3" fmla="*/ 5004 h 11614"/>
                <a:gd name="connsiteX0" fmla="*/ 233 w 10000"/>
                <a:gd name="connsiteY0" fmla="*/ 9681 h 10000"/>
                <a:gd name="connsiteX1" fmla="*/ 2778 w 10000"/>
                <a:gd name="connsiteY1" fmla="*/ 10000 h 10000"/>
                <a:gd name="connsiteX2" fmla="*/ 10000 w 10000"/>
                <a:gd name="connsiteY2" fmla="*/ 0 h 10000"/>
                <a:gd name="connsiteX3" fmla="*/ 0 w 10000"/>
                <a:gd name="connsiteY3" fmla="*/ 5004 h 10000"/>
                <a:gd name="connsiteX0" fmla="*/ 233 w 10000"/>
                <a:gd name="connsiteY0" fmla="*/ 9681 h 10000"/>
                <a:gd name="connsiteX1" fmla="*/ 234 w 10000"/>
                <a:gd name="connsiteY1" fmla="*/ 9675 h 10000"/>
                <a:gd name="connsiteX2" fmla="*/ 2778 w 10000"/>
                <a:gd name="connsiteY2" fmla="*/ 10000 h 10000"/>
                <a:gd name="connsiteX3" fmla="*/ 10000 w 10000"/>
                <a:gd name="connsiteY3" fmla="*/ 0 h 10000"/>
                <a:gd name="connsiteX4" fmla="*/ 0 w 10000"/>
                <a:gd name="connsiteY4" fmla="*/ 500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233" y="9681"/>
                  </a:moveTo>
                  <a:cubicBezTo>
                    <a:pt x="239" y="9681"/>
                    <a:pt x="228" y="9675"/>
                    <a:pt x="234" y="9675"/>
                  </a:cubicBezTo>
                  <a:lnTo>
                    <a:pt x="2778" y="10000"/>
                  </a:lnTo>
                  <a:lnTo>
                    <a:pt x="10000" y="0"/>
                  </a:lnTo>
                  <a:lnTo>
                    <a:pt x="0" y="5004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5" name="Freeform 41"/>
            <p:cNvSpPr>
              <a:spLocks/>
            </p:cNvSpPr>
            <p:nvPr userDrawn="1"/>
          </p:nvSpPr>
          <p:spPr bwMode="auto">
            <a:xfrm>
              <a:off x="-11113" y="4022726"/>
              <a:ext cx="5720328" cy="1232220"/>
            </a:xfrm>
            <a:custGeom>
              <a:avLst/>
              <a:gdLst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63 w 10000"/>
                <a:gd name="connsiteY3" fmla="*/ 6298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32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4 w 10000"/>
                <a:gd name="connsiteY3" fmla="*/ 6200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00"/>
                <a:gd name="connsiteY0" fmla="*/ 4911 h 10148"/>
                <a:gd name="connsiteX1" fmla="*/ 1791 w 10000"/>
                <a:gd name="connsiteY1" fmla="*/ 10148 h 10148"/>
                <a:gd name="connsiteX2" fmla="*/ 635 w 10000"/>
                <a:gd name="connsiteY2" fmla="*/ 1743 h 10148"/>
                <a:gd name="connsiteX3" fmla="*/ 5080 w 10000"/>
                <a:gd name="connsiteY3" fmla="*/ 6285 h 10148"/>
                <a:gd name="connsiteX4" fmla="*/ 10000 w 10000"/>
                <a:gd name="connsiteY4" fmla="*/ 2774 h 10148"/>
                <a:gd name="connsiteX5" fmla="*/ 0 w 1000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080 w 10040"/>
                <a:gd name="connsiteY3" fmla="*/ 6285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10148"/>
                <a:gd name="connsiteX1" fmla="*/ 1791 w 10040"/>
                <a:gd name="connsiteY1" fmla="*/ 10148 h 10148"/>
                <a:gd name="connsiteX2" fmla="*/ 635 w 10040"/>
                <a:gd name="connsiteY2" fmla="*/ 1743 h 10148"/>
                <a:gd name="connsiteX3" fmla="*/ 5101 w 10040"/>
                <a:gd name="connsiteY3" fmla="*/ 6198 h 10148"/>
                <a:gd name="connsiteX4" fmla="*/ 10040 w 10040"/>
                <a:gd name="connsiteY4" fmla="*/ 1627 h 10148"/>
                <a:gd name="connsiteX5" fmla="*/ 0 w 10040"/>
                <a:gd name="connsiteY5" fmla="*/ 0 h 10148"/>
                <a:gd name="connsiteX0" fmla="*/ 0 w 10040"/>
                <a:gd name="connsiteY0" fmla="*/ 4911 h 9914"/>
                <a:gd name="connsiteX1" fmla="*/ 1746 w 10040"/>
                <a:gd name="connsiteY1" fmla="*/ 9914 h 9914"/>
                <a:gd name="connsiteX2" fmla="*/ 635 w 10040"/>
                <a:gd name="connsiteY2" fmla="*/ 1743 h 9914"/>
                <a:gd name="connsiteX3" fmla="*/ 5101 w 10040"/>
                <a:gd name="connsiteY3" fmla="*/ 6198 h 9914"/>
                <a:gd name="connsiteX4" fmla="*/ 10040 w 10040"/>
                <a:gd name="connsiteY4" fmla="*/ 1627 h 9914"/>
                <a:gd name="connsiteX5" fmla="*/ 0 w 10040"/>
                <a:gd name="connsiteY5" fmla="*/ 0 h 9914"/>
                <a:gd name="connsiteX0" fmla="*/ 0 w 10000"/>
                <a:gd name="connsiteY0" fmla="*/ 4954 h 9961"/>
                <a:gd name="connsiteX1" fmla="*/ 1744 w 10000"/>
                <a:gd name="connsiteY1" fmla="*/ 9961 h 9961"/>
                <a:gd name="connsiteX2" fmla="*/ 632 w 10000"/>
                <a:gd name="connsiteY2" fmla="*/ 1758 h 9961"/>
                <a:gd name="connsiteX3" fmla="*/ 5081 w 10000"/>
                <a:gd name="connsiteY3" fmla="*/ 6252 h 9961"/>
                <a:gd name="connsiteX4" fmla="*/ 10000 w 10000"/>
                <a:gd name="connsiteY4" fmla="*/ 1641 h 9961"/>
                <a:gd name="connsiteX5" fmla="*/ 0 w 10000"/>
                <a:gd name="connsiteY5" fmla="*/ 0 h 9961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5081 w 10000"/>
                <a:gd name="connsiteY3" fmla="*/ 6276 h 10000"/>
                <a:gd name="connsiteX4" fmla="*/ 10000 w 10000"/>
                <a:gd name="connsiteY4" fmla="*/ 1647 h 10000"/>
                <a:gd name="connsiteX5" fmla="*/ 0 w 10000"/>
                <a:gd name="connsiteY5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59 w 10000"/>
                <a:gd name="connsiteY3" fmla="*/ 3801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636 w 10000"/>
                <a:gd name="connsiteY3" fmla="*/ 3948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47 w 10000"/>
                <a:gd name="connsiteY3" fmla="*/ 3840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32 w 10000"/>
                <a:gd name="connsiteY2" fmla="*/ 1765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  <a:gd name="connsiteX0" fmla="*/ 0 w 10000"/>
                <a:gd name="connsiteY0" fmla="*/ 4973 h 10000"/>
                <a:gd name="connsiteX1" fmla="*/ 1744 w 10000"/>
                <a:gd name="connsiteY1" fmla="*/ 10000 h 10000"/>
                <a:gd name="connsiteX2" fmla="*/ 646 w 10000"/>
                <a:gd name="connsiteY2" fmla="*/ 1733 h 10000"/>
                <a:gd name="connsiteX3" fmla="*/ 2564 w 10000"/>
                <a:gd name="connsiteY3" fmla="*/ 3859 h 10000"/>
                <a:gd name="connsiteX4" fmla="*/ 5081 w 10000"/>
                <a:gd name="connsiteY4" fmla="*/ 6276 h 10000"/>
                <a:gd name="connsiteX5" fmla="*/ 10000 w 10000"/>
                <a:gd name="connsiteY5" fmla="*/ 1647 h 10000"/>
                <a:gd name="connsiteX6" fmla="*/ 0 w 10000"/>
                <a:gd name="connsiteY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0">
                  <a:moveTo>
                    <a:pt x="0" y="4973"/>
                  </a:moveTo>
                  <a:lnTo>
                    <a:pt x="1744" y="10000"/>
                  </a:lnTo>
                  <a:lnTo>
                    <a:pt x="646" y="1733"/>
                  </a:lnTo>
                  <a:cubicBezTo>
                    <a:pt x="1196" y="2303"/>
                    <a:pt x="1785" y="2965"/>
                    <a:pt x="2564" y="3859"/>
                  </a:cubicBezTo>
                  <a:cubicBezTo>
                    <a:pt x="2715" y="4015"/>
                    <a:pt x="3904" y="5054"/>
                    <a:pt x="5081" y="6276"/>
                  </a:cubicBezTo>
                  <a:lnTo>
                    <a:pt x="10000" y="1647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6" name="Freeform 42"/>
            <p:cNvSpPr>
              <a:spLocks/>
            </p:cNvSpPr>
            <p:nvPr userDrawn="1"/>
          </p:nvSpPr>
          <p:spPr bwMode="auto">
            <a:xfrm>
              <a:off x="-11113" y="4230362"/>
              <a:ext cx="5701526" cy="1683076"/>
            </a:xfrm>
            <a:custGeom>
              <a:avLst/>
              <a:gdLst>
                <a:gd name="connsiteX0" fmla="*/ 8507 w 10007"/>
                <a:gd name="connsiteY0" fmla="*/ 10078 h 10078"/>
                <a:gd name="connsiteX1" fmla="*/ 9615 w 10007"/>
                <a:gd name="connsiteY1" fmla="*/ 7483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38 w 10007"/>
                <a:gd name="connsiteY3" fmla="*/ 78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40 w 10007"/>
                <a:gd name="connsiteY3" fmla="*/ 97 h 10078"/>
                <a:gd name="connsiteX4" fmla="*/ 0 w 10007"/>
                <a:gd name="connsiteY4" fmla="*/ 2987 h 10078"/>
                <a:gd name="connsiteX0" fmla="*/ 8507 w 10007"/>
                <a:gd name="connsiteY0" fmla="*/ 10078 h 10078"/>
                <a:gd name="connsiteX1" fmla="*/ 9508 w 10007"/>
                <a:gd name="connsiteY1" fmla="*/ 6557 h 10078"/>
                <a:gd name="connsiteX2" fmla="*/ 10007 w 10007"/>
                <a:gd name="connsiteY2" fmla="*/ 0 h 10078"/>
                <a:gd name="connsiteX3" fmla="*/ 621 w 10007"/>
                <a:gd name="connsiteY3" fmla="*/ 102 h 10078"/>
                <a:gd name="connsiteX4" fmla="*/ 0 w 10007"/>
                <a:gd name="connsiteY4" fmla="*/ 2987 h 10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7" h="10078">
                  <a:moveTo>
                    <a:pt x="8507" y="10078"/>
                  </a:moveTo>
                  <a:lnTo>
                    <a:pt x="9508" y="6557"/>
                  </a:lnTo>
                  <a:cubicBezTo>
                    <a:pt x="9675" y="4353"/>
                    <a:pt x="9837" y="2363"/>
                    <a:pt x="10007" y="0"/>
                  </a:cubicBezTo>
                  <a:lnTo>
                    <a:pt x="621" y="102"/>
                  </a:lnTo>
                  <a:lnTo>
                    <a:pt x="0" y="2987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827" name="Freeform 43"/>
            <p:cNvSpPr>
              <a:spLocks/>
            </p:cNvSpPr>
            <p:nvPr userDrawn="1"/>
          </p:nvSpPr>
          <p:spPr bwMode="auto">
            <a:xfrm>
              <a:off x="-54" y="5157238"/>
              <a:ext cx="1354191" cy="756200"/>
            </a:xfrm>
            <a:custGeom>
              <a:avLst/>
              <a:gdLst>
                <a:gd name="connsiteX0" fmla="*/ 0 w 10000"/>
                <a:gd name="connsiteY0" fmla="*/ 0 h 10000"/>
                <a:gd name="connsiteX1" fmla="*/ 7132 w 10000"/>
                <a:gd name="connsiteY1" fmla="*/ 935 h 10000"/>
                <a:gd name="connsiteX2" fmla="*/ 10000 w 10000"/>
                <a:gd name="connsiteY2" fmla="*/ 10000 h 10000"/>
                <a:gd name="connsiteX0" fmla="*/ 0 w 9919"/>
                <a:gd name="connsiteY0" fmla="*/ 0 h 10244"/>
                <a:gd name="connsiteX1" fmla="*/ 7051 w 9919"/>
                <a:gd name="connsiteY1" fmla="*/ 1179 h 10244"/>
                <a:gd name="connsiteX2" fmla="*/ 9919 w 9919"/>
                <a:gd name="connsiteY2" fmla="*/ 10244 h 10244"/>
                <a:gd name="connsiteX0" fmla="*/ 0 w 10000"/>
                <a:gd name="connsiteY0" fmla="*/ 0 h 10000"/>
                <a:gd name="connsiteX1" fmla="*/ 7109 w 10000"/>
                <a:gd name="connsiteY1" fmla="*/ 1151 h 10000"/>
                <a:gd name="connsiteX2" fmla="*/ 10000 w 10000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7109" y="1151"/>
                  </a:lnTo>
                  <a:lnTo>
                    <a:pt x="10000" y="10000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4" name="Oval 19"/>
            <p:cNvSpPr>
              <a:spLocks noChangeAspect="1" noChangeArrowheads="1"/>
            </p:cNvSpPr>
            <p:nvPr userDrawn="1"/>
          </p:nvSpPr>
          <p:spPr bwMode="auto">
            <a:xfrm>
              <a:off x="7706047" y="3313553"/>
              <a:ext cx="72000" cy="72081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8" name="Rectangle 17"/>
          <p:cNvSpPr/>
          <p:nvPr userDrawn="1"/>
        </p:nvSpPr>
        <p:spPr>
          <a:xfrm>
            <a:off x="7113300" y="454410"/>
            <a:ext cx="2792700" cy="40481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0" rIns="360000" bIns="0" rtlCol="0" anchor="ctr"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0" i="0" kern="1200" noProof="0" dirty="0">
                <a:solidFill>
                  <a:schemeClr val="tx1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  <a:latin typeface="+mj-lt"/>
                <a:ea typeface="+mn-ea"/>
                <a:cs typeface="+mn-cs"/>
              </a:rPr>
              <a:t>Leader in Digital Transformation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4488" y="4071521"/>
            <a:ext cx="6696000" cy="294302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lIns="90000" tIns="36000" rIns="90000" bIns="36000">
            <a:spAutoFit/>
          </a:bodyPr>
          <a:lstStyle>
            <a:lvl1pPr marL="0" indent="0" algn="l">
              <a:spcAft>
                <a:spcPts val="0"/>
              </a:spcAft>
              <a:buNone/>
              <a:defRPr lang="fr-FR" sz="1600" b="0" i="0" kern="1200" noProof="0" dirty="0" smtClean="0">
                <a:solidFill>
                  <a:schemeClr val="tx1"/>
                </a:solidFill>
                <a:effectLst>
                  <a:outerShdw blurRad="50800" dist="25400" dir="2700000" algn="tl" rotWithShape="0">
                    <a:prstClr val="black">
                      <a:alpha val="24000"/>
                    </a:prstClr>
                  </a:outerShdw>
                </a:effectLst>
                <a:latin typeface="+mj-lt"/>
                <a:ea typeface="+mn-ea"/>
                <a:cs typeface="+mn-cs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>
          <a:xfrm>
            <a:off x="344488" y="3344465"/>
            <a:ext cx="6696000" cy="588605"/>
          </a:xfrm>
          <a:solidFill>
            <a:schemeClr val="bg1">
              <a:alpha val="80000"/>
            </a:schemeClr>
          </a:solidFill>
        </p:spPr>
        <p:txBody>
          <a:bodyPr wrap="square" tIns="72000" bIns="72000" anchor="b" anchorCtr="0">
            <a:spAutoFit/>
          </a:bodyPr>
          <a:lstStyle>
            <a:lvl1pPr>
              <a:defRPr sz="32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7485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653170"/>
            <a:ext cx="3189288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75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02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 bwMode="auto">
          <a:xfrm>
            <a:off x="-1" y="435429"/>
            <a:ext cx="9898743" cy="64153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15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36" y="1792974"/>
            <a:ext cx="9210677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7" y="1382234"/>
            <a:ext cx="9005813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9000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Maroon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933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1384300"/>
            <a:ext cx="4953000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953000" y="2252663"/>
            <a:ext cx="2712516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19250" y="6353175"/>
            <a:ext cx="2279650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938381" y="1881963"/>
            <a:ext cx="2712516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234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C swoosh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56695"/>
            <a:ext cx="9906000" cy="516864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9453563" y="5842000"/>
            <a:ext cx="236537" cy="207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815263" y="5972175"/>
            <a:ext cx="2090737" cy="2333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36000" bIns="396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20" dirty="0">
                <a:solidFill>
                  <a:srgbClr val="FFFFFF"/>
                </a:solidFill>
                <a:cs typeface="Arial" charset="0"/>
              </a:rPr>
              <a:t>Transform to the power of digit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6593" y="1553432"/>
            <a:ext cx="7150789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6593" y="2131443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20" y="6355531"/>
            <a:ext cx="4114800" cy="523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816225"/>
            <a:ext cx="9906000" cy="404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3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597440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15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8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feld 14"/>
          <p:cNvSpPr txBox="1"/>
          <p:nvPr userDrawn="1"/>
        </p:nvSpPr>
        <p:spPr bwMode="auto">
          <a:xfrm>
            <a:off x="6393200" y="6596488"/>
            <a:ext cx="2999539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 noProof="0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opyright © 2017 Capgemini Consulting. All rights reserved.</a:t>
            </a:r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26224" y="6406810"/>
            <a:ext cx="394716" cy="453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9375" y="2092325"/>
            <a:ext cx="6016625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653170"/>
            <a:ext cx="3189288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33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 bwMode="auto">
          <a:xfrm>
            <a:off x="-1" y="435429"/>
            <a:ext cx="9898743" cy="64153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15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36" y="1792974"/>
            <a:ext cx="9210677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7" y="1382234"/>
            <a:ext cx="9005813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9000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Maroon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933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1384300"/>
            <a:ext cx="4953000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953000" y="2252663"/>
            <a:ext cx="2712516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3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19250" y="6353175"/>
            <a:ext cx="2279650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78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36" y="1792974"/>
            <a:ext cx="9210677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938381" y="1881963"/>
            <a:ext cx="2712516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1" y="435429"/>
            <a:ext cx="9898743" cy="64153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41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pic>
        <p:nvPicPr>
          <p:cNvPr id="15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44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74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4"/>
          <p:cNvSpPr txBox="1"/>
          <p:nvPr userDrawn="1"/>
        </p:nvSpPr>
        <p:spPr bwMode="auto">
          <a:xfrm>
            <a:off x="6249180" y="6641018"/>
            <a:ext cx="2999539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 noProof="0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opyright © 2017 Capgemini Consulting. All rights reserved.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130" y="6287759"/>
            <a:ext cx="496445" cy="57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848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36" y="1792974"/>
            <a:ext cx="9210677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951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7" y="1382234"/>
            <a:ext cx="9005813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053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56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9000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58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Maroon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933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1384300"/>
            <a:ext cx="4953000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953000" y="2252663"/>
            <a:ext cx="2712516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7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19250" y="6353175"/>
            <a:ext cx="2279650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60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80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7" y="1382234"/>
            <a:ext cx="9005813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3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938381" y="1881963"/>
            <a:ext cx="2712516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Calibri"/>
                <a:ea typeface="+mn-ea"/>
                <a:cs typeface="Arial" pitchFamily="34" charset="0"/>
                <a:sym typeface="Calibri"/>
              </a:defRPr>
            </a:lvl1pPr>
          </a:lstStyle>
          <a:p>
            <a:pPr lvl="0"/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65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653170"/>
            <a:ext cx="3189288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770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C swoosh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56695"/>
            <a:ext cx="9906000" cy="516864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9453563" y="5842000"/>
            <a:ext cx="236537" cy="207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815263" y="5972175"/>
            <a:ext cx="2090737" cy="2333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36000" bIns="396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20" dirty="0">
                <a:solidFill>
                  <a:srgbClr val="FFFFFF"/>
                </a:solidFill>
                <a:cs typeface="Arial" charset="0"/>
              </a:rPr>
              <a:t>Transform to the power of digit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6593" y="1553432"/>
            <a:ext cx="7150789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6593" y="2131443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330" y="6355531"/>
            <a:ext cx="4114800" cy="523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872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816225"/>
            <a:ext cx="9906000" cy="404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75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9375" y="2092325"/>
            <a:ext cx="6016625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3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3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77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8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180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28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15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8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384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36" y="1792974"/>
            <a:ext cx="9210677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7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7" y="1382234"/>
            <a:ext cx="9005813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3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89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92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9000" y="1797050"/>
            <a:ext cx="5207000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794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Maroon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933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1384300"/>
            <a:ext cx="4953000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953000" y="2252663"/>
            <a:ext cx="2712516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7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619250" y="6353175"/>
            <a:ext cx="2279650" cy="263525"/>
          </a:xfrm>
          <a:prstGeom prst="rect">
            <a:avLst/>
          </a:prstGeom>
          <a:solidFill>
            <a:srgbClr val="5D17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cs typeface="Calibri" pitchFamily="34" charset="0"/>
              </a:rPr>
              <a:t>Transform the power of digita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96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999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9E6EF1-C386-48E8-8DB3-8A466EBA5EEF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938381" y="1881963"/>
            <a:ext cx="2712516" cy="2998012"/>
          </a:xfrm>
        </p:spPr>
        <p:txBody>
          <a:bodyPr/>
          <a:lstStyle>
            <a:lvl1pPr marL="285750" marR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 lang="en-US" sz="1400" u="none" kern="1200" baseline="0" dirty="0" smtClean="0">
                <a:solidFill>
                  <a:srgbClr val="981E32"/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Calibri"/>
                <a:ea typeface="+mn-ea"/>
                <a:cs typeface="Arial" pitchFamily="34" charset="0"/>
                <a:sym typeface="Calibri"/>
              </a:defRPr>
            </a:lvl1pPr>
          </a:lstStyle>
          <a:p>
            <a:pPr lvl="0"/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marL="285750" marR="0" lvl="0" indent="-216000" algn="l" defTabSz="9144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Tx/>
              <a:buBlip>
                <a:blip r:embed="rId6"/>
              </a:buBlip>
              <a:tabLst/>
              <a:defRPr/>
            </a:pPr>
            <a:r>
              <a:rPr lang="en-US" dirty="0"/>
              <a:t>Click to add content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204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8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306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0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4" name="Freeform 4"/>
          <p:cNvSpPr>
            <a:spLocks/>
          </p:cNvSpPr>
          <p:nvPr userDrawn="1"/>
        </p:nvSpPr>
        <p:spPr bwMode="auto">
          <a:xfrm>
            <a:off x="2" y="-8"/>
            <a:ext cx="9906000" cy="1016741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sym typeface="Calibri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>
              <a:defRPr sz="22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5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15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  <p:sp>
        <p:nvSpPr>
          <p:cNvPr id="16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8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" y="6381750"/>
            <a:ext cx="9905999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1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8" y="1032038"/>
            <a:ext cx="9210675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36" y="1792974"/>
            <a:ext cx="9210677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13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7" y="1382234"/>
            <a:ext cx="9005813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oleObject" Target="../embeddings/oleObject96.bin"/><Relationship Id="rId3" Type="http://schemas.openxmlformats.org/officeDocument/2006/relationships/slideLayout" Target="../slideLayouts/slideLayout109.xml"/><Relationship Id="rId21" Type="http://schemas.openxmlformats.org/officeDocument/2006/relationships/image" Target="../media/image5.emf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tags" Target="../tags/tag116.xml"/><Relationship Id="rId2" Type="http://schemas.openxmlformats.org/officeDocument/2006/relationships/slideLayout" Target="../slideLayouts/slideLayout108.xml"/><Relationship Id="rId16" Type="http://schemas.openxmlformats.org/officeDocument/2006/relationships/vmlDrawing" Target="../drawings/vmlDrawing96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1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oleObject" Target="../embeddings/oleObject111.bin"/><Relationship Id="rId3" Type="http://schemas.openxmlformats.org/officeDocument/2006/relationships/slideLayout" Target="../slideLayouts/slideLayout123.xml"/><Relationship Id="rId21" Type="http://schemas.openxmlformats.org/officeDocument/2006/relationships/image" Target="../media/image5.emf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tags" Target="../tags/tag132.xml"/><Relationship Id="rId2" Type="http://schemas.openxmlformats.org/officeDocument/2006/relationships/slideLayout" Target="../slideLayouts/slideLayout122.xml"/><Relationship Id="rId16" Type="http://schemas.openxmlformats.org/officeDocument/2006/relationships/vmlDrawing" Target="../drawings/vmlDrawing11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3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18.png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image" Target="../media/image16.emf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9.emf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vmlDrawing" Target="../drawings/vmlDrawing19.vml"/><Relationship Id="rId15" Type="http://schemas.openxmlformats.org/officeDocument/2006/relationships/oleObject" Target="../embeddings/oleObject19.bin"/><Relationship Id="rId23" Type="http://schemas.openxmlformats.org/officeDocument/2006/relationships/image" Target="../media/image19.png"/><Relationship Id="rId28" Type="http://schemas.openxmlformats.org/officeDocument/2006/relationships/image" Target="../media/image22.jpeg"/><Relationship Id="rId10" Type="http://schemas.openxmlformats.org/officeDocument/2006/relationships/tags" Target="../tags/tag26.xml"/><Relationship Id="rId19" Type="http://schemas.openxmlformats.org/officeDocument/2006/relationships/image" Target="../media/image17.png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21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image" Target="../media/image9.emf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oleObject" Target="../embeddings/oleObject23.bin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3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vmlDrawing" Target="../drawings/vmlDrawing23.vml"/><Relationship Id="rId10" Type="http://schemas.openxmlformats.org/officeDocument/2006/relationships/slideLayout" Target="../slideLayouts/slideLayout30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oleObject" Target="../embeddings/oleObject37.bin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5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53.xml"/><Relationship Id="rId2" Type="http://schemas.openxmlformats.org/officeDocument/2006/relationships/slideLayout" Target="../slideLayouts/slideLayout35.xml"/><Relationship Id="rId16" Type="http://schemas.openxmlformats.org/officeDocument/2006/relationships/vmlDrawing" Target="../drawings/vmlDrawing37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ags" Target="../tags/tag69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vmlDrawing" Target="../drawings/vmlDrawing52.v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oleObject" Target="../embeddings/oleObject5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oleObject" Target="../embeddings/oleObject54.bin"/><Relationship Id="rId2" Type="http://schemas.openxmlformats.org/officeDocument/2006/relationships/slideLayout" Target="../slideLayouts/slideLayout59.xml"/><Relationship Id="rId16" Type="http://schemas.openxmlformats.org/officeDocument/2006/relationships/tags" Target="../tags/tag72.x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vmlDrawing" Target="../drawings/vmlDrawing54.vml"/><Relationship Id="rId10" Type="http://schemas.openxmlformats.org/officeDocument/2006/relationships/slideLayout" Target="../slideLayouts/slideLayout67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vmlDrawing" Target="../drawings/vmlDrawing57.v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7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oleObject" Target="../embeddings/oleObject57.bin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ags" Target="../tags/tag7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oleObject" Target="../embeddings/oleObject69.bin"/><Relationship Id="rId2" Type="http://schemas.openxmlformats.org/officeDocument/2006/relationships/slideLayout" Target="../slideLayouts/slideLayout83.xml"/><Relationship Id="rId16" Type="http://schemas.openxmlformats.org/officeDocument/2006/relationships/tags" Target="../tags/tag89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vmlDrawing" Target="../drawings/vmlDrawing69.vml"/><Relationship Id="rId10" Type="http://schemas.openxmlformats.org/officeDocument/2006/relationships/slideLayout" Target="../slideLayouts/slideLayout91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9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96.xml"/><Relationship Id="rId16" Type="http://schemas.openxmlformats.org/officeDocument/2006/relationships/oleObject" Target="../embeddings/oleObject83.bin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tags" Target="../tags/tag103.xml"/><Relationship Id="rId10" Type="http://schemas.openxmlformats.org/officeDocument/2006/relationships/slideLayout" Target="../slideLayouts/slideLayout104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vmlDrawing" Target="../drawings/vmlDrawing8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336" name="think-cell Slide" r:id="rId21" imgW="270" imgH="270" progId="">
                  <p:embed/>
                </p:oleObj>
              </mc:Choice>
              <mc:Fallback>
                <p:oleObj name="think-cell Slide" r:id="rId21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8" y="0"/>
            <a:ext cx="95551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35038"/>
            <a:ext cx="9906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50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7 Capgemini. All rights reserved.</a:t>
            </a:r>
          </a:p>
        </p:txBody>
      </p:sp>
      <p:grpSp>
        <p:nvGrpSpPr>
          <p:cNvPr id="3" name="Group_Sticker" hidden="1"/>
          <p:cNvGrpSpPr>
            <a:grpSpLocks/>
          </p:cNvGrpSpPr>
          <p:nvPr/>
        </p:nvGrpSpPr>
        <p:grpSpPr bwMode="auto">
          <a:xfrm>
            <a:off x="8999666" y="1036910"/>
            <a:ext cx="561974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69" y="618"/>
              <a:ext cx="272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  <a:latin typeface="Calibri"/>
                  <a:sym typeface="Calibri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</p:grpSp>
      <p:sp>
        <p:nvSpPr>
          <p:cNvPr id="16" name="FootnoteAndSource" hidden="1"/>
          <p:cNvSpPr txBox="1"/>
          <p:nvPr/>
        </p:nvSpPr>
        <p:spPr>
          <a:xfrm>
            <a:off x="406842" y="6207003"/>
            <a:ext cx="836768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  <a:latin typeface="Calibri"/>
                <a:sym typeface="Calibri"/>
              </a:rPr>
              <a:t>FootnoteAndSource</a:t>
            </a:r>
            <a:endParaRPr lang="de-DE" sz="8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0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  <p:pic>
        <p:nvPicPr>
          <p:cNvPr id="22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4007" r:id="rId6"/>
    <p:sldLayoutId id="2147483971" r:id="rId7"/>
    <p:sldLayoutId id="2147483972" r:id="rId8"/>
    <p:sldLayoutId id="2147483973" r:id="rId9"/>
    <p:sldLayoutId id="2147483974" r:id="rId10"/>
    <p:sldLayoutId id="2147483975" r:id="rId11"/>
    <p:sldLayoutId id="2147483978" r:id="rId12"/>
    <p:sldLayoutId id="2147484009" r:id="rId13"/>
    <p:sldLayoutId id="2147484123" r:id="rId14"/>
    <p:sldLayoutId id="2147484129" r:id="rId15"/>
    <p:sldLayoutId id="2147484130" r:id="rId16"/>
    <p:sldLayoutId id="2147484131" r:id="rId17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4328" name="think-cell Slide" r:id="rId18" imgW="270" imgH="270" progId="">
                  <p:embed/>
                </p:oleObj>
              </mc:Choice>
              <mc:Fallback>
                <p:oleObj name="think-cell Slide" r:id="rId18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8" y="0"/>
            <a:ext cx="95551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35038"/>
            <a:ext cx="9906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50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502401"/>
            <a:ext cx="2493759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grpSp>
        <p:nvGrpSpPr>
          <p:cNvPr id="3" name="Group_Sticker" hidden="1"/>
          <p:cNvGrpSpPr>
            <a:grpSpLocks/>
          </p:cNvGrpSpPr>
          <p:nvPr/>
        </p:nvGrpSpPr>
        <p:grpSpPr bwMode="auto">
          <a:xfrm>
            <a:off x="8999666" y="1036910"/>
            <a:ext cx="561974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69" y="618"/>
              <a:ext cx="272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  <a:latin typeface="Calibri"/>
                  <a:sym typeface="Calibri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</p:grpSp>
      <p:sp>
        <p:nvSpPr>
          <p:cNvPr id="16" name="FootnoteAndSource" hidden="1"/>
          <p:cNvSpPr txBox="1"/>
          <p:nvPr/>
        </p:nvSpPr>
        <p:spPr>
          <a:xfrm>
            <a:off x="406842" y="6207003"/>
            <a:ext cx="836768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  <a:latin typeface="Calibri"/>
                <a:sym typeface="Calibri"/>
              </a:rPr>
              <a:t>FootnoteAndSource</a:t>
            </a:r>
            <a:endParaRPr lang="de-DE" sz="8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0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8" r:id="rId1"/>
    <p:sldLayoutId id="2147484109" r:id="rId2"/>
    <p:sldLayoutId id="2147484110" r:id="rId3"/>
    <p:sldLayoutId id="2147484111" r:id="rId4"/>
    <p:sldLayoutId id="2147484112" r:id="rId5"/>
    <p:sldLayoutId id="2147484113" r:id="rId6"/>
    <p:sldLayoutId id="2147484114" r:id="rId7"/>
    <p:sldLayoutId id="2147484115" r:id="rId8"/>
    <p:sldLayoutId id="2147484116" r:id="rId9"/>
    <p:sldLayoutId id="2147484117" r:id="rId10"/>
    <p:sldLayoutId id="2147484118" r:id="rId11"/>
    <p:sldLayoutId id="2147484119" r:id="rId12"/>
    <p:sldLayoutId id="2147484120" r:id="rId13"/>
    <p:sldLayoutId id="2147484121" r:id="rId14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73" name="think-cell Slide" r:id="rId18" imgW="270" imgH="270" progId="">
                  <p:embed/>
                </p:oleObj>
              </mc:Choice>
              <mc:Fallback>
                <p:oleObj name="think-cell Slide" r:id="rId18" imgW="270" imgH="27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9" y="2"/>
            <a:ext cx="95551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9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35040"/>
            <a:ext cx="9906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52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5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502401"/>
            <a:ext cx="2493759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569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grpSp>
        <p:nvGrpSpPr>
          <p:cNvPr id="3" name="Group_Sticker" hidden="1"/>
          <p:cNvGrpSpPr>
            <a:grpSpLocks/>
          </p:cNvGrpSpPr>
          <p:nvPr/>
        </p:nvGrpSpPr>
        <p:grpSpPr bwMode="auto">
          <a:xfrm>
            <a:off x="8999666" y="1044850"/>
            <a:ext cx="561974" cy="230188"/>
            <a:chOff x="5328" y="623"/>
            <a:chExt cx="354" cy="145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95" y="627"/>
              <a:ext cx="221" cy="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5200650" algn="r"/>
                  <a:tab pos="7016750" algn="r"/>
                </a:tabLst>
              </a:pPr>
              <a:r>
                <a:rPr lang="en-GB" sz="813" b="1" dirty="0">
                  <a:solidFill>
                    <a:srgbClr val="000000"/>
                  </a:solidFill>
                  <a:latin typeface="Calibri"/>
                  <a:sym typeface="Calibri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sz="1463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sz="1463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</p:grpSp>
      <p:sp>
        <p:nvSpPr>
          <p:cNvPr id="16" name="FootnoteAndSource" hidden="1"/>
          <p:cNvSpPr txBox="1"/>
          <p:nvPr/>
        </p:nvSpPr>
        <p:spPr>
          <a:xfrm>
            <a:off x="406842" y="6207005"/>
            <a:ext cx="673261" cy="141706"/>
          </a:xfrm>
          <a:prstGeom prst="rect">
            <a:avLst/>
          </a:prstGeom>
          <a:noFill/>
        </p:spPr>
        <p:txBody>
          <a:bodyPr vert="horz" wrap="none" lIns="0" tIns="20638" rIns="0" bIns="20638" rtlCol="0">
            <a:spAutoFit/>
          </a:bodyPr>
          <a:lstStyle/>
          <a:p>
            <a:pPr marL="349187" indent="-349187" fontAlgn="auto">
              <a:spcBef>
                <a:spcPts val="0"/>
              </a:spcBef>
              <a:spcAft>
                <a:spcPts val="0"/>
              </a:spcAft>
              <a:tabLst>
                <a:tab pos="282321" algn="r"/>
              </a:tabLst>
              <a:defRPr/>
            </a:pPr>
            <a:r>
              <a:rPr lang="de-DE" sz="650" dirty="0" err="1">
                <a:solidFill>
                  <a:srgbClr val="000000"/>
                </a:solidFill>
                <a:latin typeface="Calibri"/>
                <a:sym typeface="Calibri"/>
              </a:rPr>
              <a:t>FootnoteAndSource</a:t>
            </a:r>
            <a:endParaRPr lang="de-DE" sz="65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1"/>
            <a:ext cx="1905048" cy="242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sz="975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</p:spTree>
    <p:extLst>
      <p:ext uri="{BB962C8B-B14F-4D97-AF65-F5344CB8AC3E}">
        <p14:creationId xmlns:p14="http://schemas.microsoft.com/office/powerpoint/2010/main" val="2165422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40" r:id="rId2"/>
    <p:sldLayoutId id="2147484141" r:id="rId3"/>
    <p:sldLayoutId id="2147484142" r:id="rId4"/>
    <p:sldLayoutId id="2147484143" r:id="rId5"/>
    <p:sldLayoutId id="2147484144" r:id="rId6"/>
    <p:sldLayoutId id="2147484145" r:id="rId7"/>
    <p:sldLayoutId id="2147484146" r:id="rId8"/>
    <p:sldLayoutId id="2147484147" r:id="rId9"/>
    <p:sldLayoutId id="2147484148" r:id="rId10"/>
    <p:sldLayoutId id="2147484149" r:id="rId11"/>
    <p:sldLayoutId id="2147484150" r:id="rId12"/>
    <p:sldLayoutId id="2147484151" r:id="rId13"/>
    <p:sldLayoutId id="2147484152" r:id="rId14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25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25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25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25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25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371475" algn="l" rtl="0" eaLnBrk="1" fontAlgn="base" hangingPunct="1">
        <a:spcBef>
          <a:spcPct val="0"/>
        </a:spcBef>
        <a:spcAft>
          <a:spcPct val="0"/>
        </a:spcAft>
        <a:defRPr sz="1625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742950" algn="l" rtl="0" eaLnBrk="1" fontAlgn="base" hangingPunct="1">
        <a:spcBef>
          <a:spcPct val="0"/>
        </a:spcBef>
        <a:spcAft>
          <a:spcPct val="0"/>
        </a:spcAft>
        <a:defRPr sz="1625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114425" algn="l" rtl="0" eaLnBrk="1" fontAlgn="base" hangingPunct="1">
        <a:spcBef>
          <a:spcPct val="0"/>
        </a:spcBef>
        <a:spcAft>
          <a:spcPct val="0"/>
        </a:spcAft>
        <a:defRPr sz="1625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485900" algn="l" rtl="0" eaLnBrk="1" fontAlgn="base" hangingPunct="1">
        <a:spcBef>
          <a:spcPct val="0"/>
        </a:spcBef>
        <a:spcAft>
          <a:spcPct val="0"/>
        </a:spcAft>
        <a:defRPr sz="1625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48332" indent="-148332" algn="l" rtl="0" eaLnBrk="1" fontAlgn="base" hangingPunct="1">
        <a:lnSpc>
          <a:spcPct val="90000"/>
        </a:lnSpc>
        <a:spcBef>
          <a:spcPts val="0"/>
        </a:spcBef>
        <a:spcAft>
          <a:spcPts val="325"/>
        </a:spcAft>
        <a:buClr>
          <a:schemeClr val="accent2"/>
        </a:buClr>
        <a:buSzPct val="100000"/>
        <a:buFont typeface="Wingdings" pitchFamily="2" charset="2"/>
        <a:buChar char="§"/>
        <a:defRPr sz="1138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290215" indent="-141883" algn="l" rtl="0" eaLnBrk="1" fontAlgn="base" hangingPunct="1">
        <a:lnSpc>
          <a:spcPct val="90000"/>
        </a:lnSpc>
        <a:spcBef>
          <a:spcPts val="0"/>
        </a:spcBef>
        <a:spcAft>
          <a:spcPts val="325"/>
        </a:spcAft>
        <a:buClr>
          <a:schemeClr val="tx2"/>
        </a:buClr>
        <a:buFont typeface="Arial" charset="0"/>
        <a:buChar char="–"/>
        <a:defRPr sz="975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438547" indent="-148332" algn="l" rtl="0" eaLnBrk="1" fontAlgn="base" hangingPunct="1">
        <a:lnSpc>
          <a:spcPct val="90000"/>
        </a:lnSpc>
        <a:spcBef>
          <a:spcPts val="0"/>
        </a:spcBef>
        <a:spcAft>
          <a:spcPts val="325"/>
        </a:spcAft>
        <a:buFont typeface="Arial" charset="0"/>
        <a:buChar char="•"/>
        <a:defRPr sz="894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579140" indent="-140593" algn="l" rtl="0" eaLnBrk="1" fontAlgn="base" hangingPunct="1">
        <a:lnSpc>
          <a:spcPct val="90000"/>
        </a:lnSpc>
        <a:spcBef>
          <a:spcPts val="0"/>
        </a:spcBef>
        <a:spcAft>
          <a:spcPts val="325"/>
        </a:spcAft>
        <a:buFont typeface="Arial" charset="0"/>
        <a:buChar char="–"/>
        <a:defRPr sz="813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727472" indent="-148332" algn="l" rtl="0" eaLnBrk="1" fontAlgn="base" hangingPunct="1">
        <a:lnSpc>
          <a:spcPct val="90000"/>
        </a:lnSpc>
        <a:spcBef>
          <a:spcPts val="0"/>
        </a:spcBef>
        <a:spcAft>
          <a:spcPts val="325"/>
        </a:spcAft>
        <a:buFont typeface="Arial" charset="0"/>
        <a:buChar char="»"/>
        <a:defRPr sz="813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043113" indent="-185738" algn="l" defTabSz="742950" rtl="0" eaLnBrk="1" latinLnBrk="0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FC5EC9-6A45-4743-B02E-99543BCF207E}" type="datetimeFigureOut">
              <a:rPr lang="en-US" smtClean="0"/>
              <a:t>12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57F936-6BA7-43B9-BEC9-FABFFC3CF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309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752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6875" y="1209254"/>
            <a:ext cx="2880000" cy="229353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763620" y="5457935"/>
            <a:ext cx="2523255" cy="380480"/>
          </a:xfrm>
          <a:prstGeom prst="rect">
            <a:avLst/>
          </a:prstGeom>
        </p:spPr>
        <p:txBody>
          <a:bodyPr wrap="none" lIns="0" tIns="36000" rIns="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9877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25290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4345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92848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93" t="6316" r="5718" b="7969"/>
          <a:stretch>
            <a:fillRect/>
          </a:stretch>
        </p:blipFill>
        <p:spPr>
          <a:xfrm>
            <a:off x="8363793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" name="Image 12" descr="Capgemini_logo.jpg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567" y="1014965"/>
            <a:ext cx="2880000" cy="68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73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4"/>
          <p:cNvSpPr>
            <a:spLocks/>
          </p:cNvSpPr>
          <p:nvPr userDrawn="1"/>
        </p:nvSpPr>
        <p:spPr bwMode="auto">
          <a:xfrm>
            <a:off x="0" y="140861"/>
            <a:ext cx="9906000" cy="1163903"/>
          </a:xfrm>
          <a:custGeom>
            <a:avLst/>
            <a:gdLst>
              <a:gd name="connsiteX0" fmla="*/ 9509 w 10000"/>
              <a:gd name="connsiteY0" fmla="*/ 11293 h 17760"/>
              <a:gd name="connsiteX1" fmla="*/ 972 w 10000"/>
              <a:gd name="connsiteY1" fmla="*/ 11293 h 17760"/>
              <a:gd name="connsiteX2" fmla="*/ 484 w 10000"/>
              <a:gd name="connsiteY2" fmla="*/ 15878 h 17760"/>
              <a:gd name="connsiteX3" fmla="*/ 0 w 10000"/>
              <a:gd name="connsiteY3" fmla="*/ 0 h 17760"/>
              <a:gd name="connsiteX4" fmla="*/ 0 w 10000"/>
              <a:gd name="connsiteY4" fmla="*/ 12219 h 17760"/>
              <a:gd name="connsiteX5" fmla="*/ 484 w 10000"/>
              <a:gd name="connsiteY5" fmla="*/ 16756 h 17760"/>
              <a:gd name="connsiteX6" fmla="*/ 972 w 10000"/>
              <a:gd name="connsiteY6" fmla="*/ 12219 h 17760"/>
              <a:gd name="connsiteX7" fmla="*/ 9509 w 10000"/>
              <a:gd name="connsiteY7" fmla="*/ 12219 h 17760"/>
              <a:gd name="connsiteX8" fmla="*/ 10000 w 10000"/>
              <a:gd name="connsiteY8" fmla="*/ 7683 h 17760"/>
              <a:gd name="connsiteX9" fmla="*/ 10000 w 10000"/>
              <a:gd name="connsiteY9" fmla="*/ 6756 h 17760"/>
              <a:gd name="connsiteX10" fmla="*/ 9509 w 10000"/>
              <a:gd name="connsiteY10" fmla="*/ 11293 h 17760"/>
              <a:gd name="connsiteX0" fmla="*/ 9509 w 10000"/>
              <a:gd name="connsiteY0" fmla="*/ 11293 h 16756"/>
              <a:gd name="connsiteX1" fmla="*/ 972 w 10000"/>
              <a:gd name="connsiteY1" fmla="*/ 11293 h 16756"/>
              <a:gd name="connsiteX2" fmla="*/ 720 w 10000"/>
              <a:gd name="connsiteY2" fmla="*/ 5853 h 16756"/>
              <a:gd name="connsiteX3" fmla="*/ 0 w 10000"/>
              <a:gd name="connsiteY3" fmla="*/ 0 h 16756"/>
              <a:gd name="connsiteX4" fmla="*/ 0 w 10000"/>
              <a:gd name="connsiteY4" fmla="*/ 12219 h 16756"/>
              <a:gd name="connsiteX5" fmla="*/ 484 w 10000"/>
              <a:gd name="connsiteY5" fmla="*/ 16756 h 16756"/>
              <a:gd name="connsiteX6" fmla="*/ 972 w 10000"/>
              <a:gd name="connsiteY6" fmla="*/ 12219 h 16756"/>
              <a:gd name="connsiteX7" fmla="*/ 9509 w 10000"/>
              <a:gd name="connsiteY7" fmla="*/ 12219 h 16756"/>
              <a:gd name="connsiteX8" fmla="*/ 10000 w 10000"/>
              <a:gd name="connsiteY8" fmla="*/ 7683 h 16756"/>
              <a:gd name="connsiteX9" fmla="*/ 10000 w 10000"/>
              <a:gd name="connsiteY9" fmla="*/ 6756 h 16756"/>
              <a:gd name="connsiteX10" fmla="*/ 9509 w 10000"/>
              <a:gd name="connsiteY10" fmla="*/ 11293 h 16756"/>
              <a:gd name="connsiteX0" fmla="*/ 10122 w 10613"/>
              <a:gd name="connsiteY0" fmla="*/ 11447 h 16910"/>
              <a:gd name="connsiteX1" fmla="*/ 1585 w 10613"/>
              <a:gd name="connsiteY1" fmla="*/ 11447 h 16910"/>
              <a:gd name="connsiteX2" fmla="*/ 613 w 10613"/>
              <a:gd name="connsiteY2" fmla="*/ 154 h 16910"/>
              <a:gd name="connsiteX3" fmla="*/ 613 w 10613"/>
              <a:gd name="connsiteY3" fmla="*/ 12373 h 16910"/>
              <a:gd name="connsiteX4" fmla="*/ 1097 w 10613"/>
              <a:gd name="connsiteY4" fmla="*/ 16910 h 16910"/>
              <a:gd name="connsiteX5" fmla="*/ 1585 w 10613"/>
              <a:gd name="connsiteY5" fmla="*/ 12373 h 16910"/>
              <a:gd name="connsiteX6" fmla="*/ 10122 w 10613"/>
              <a:gd name="connsiteY6" fmla="*/ 12373 h 16910"/>
              <a:gd name="connsiteX7" fmla="*/ 10613 w 10613"/>
              <a:gd name="connsiteY7" fmla="*/ 7837 h 16910"/>
              <a:gd name="connsiteX8" fmla="*/ 10613 w 10613"/>
              <a:gd name="connsiteY8" fmla="*/ 6910 h 16910"/>
              <a:gd name="connsiteX9" fmla="*/ 10122 w 10613"/>
              <a:gd name="connsiteY9" fmla="*/ 11447 h 16910"/>
              <a:gd name="connsiteX0" fmla="*/ 9758 w 10249"/>
              <a:gd name="connsiteY0" fmla="*/ 13175 h 18638"/>
              <a:gd name="connsiteX1" fmla="*/ 1585 w 10249"/>
              <a:gd name="connsiteY1" fmla="*/ 1882 h 18638"/>
              <a:gd name="connsiteX2" fmla="*/ 249 w 10249"/>
              <a:gd name="connsiteY2" fmla="*/ 1882 h 18638"/>
              <a:gd name="connsiteX3" fmla="*/ 249 w 10249"/>
              <a:gd name="connsiteY3" fmla="*/ 14101 h 18638"/>
              <a:gd name="connsiteX4" fmla="*/ 733 w 10249"/>
              <a:gd name="connsiteY4" fmla="*/ 18638 h 18638"/>
              <a:gd name="connsiteX5" fmla="*/ 1221 w 10249"/>
              <a:gd name="connsiteY5" fmla="*/ 14101 h 18638"/>
              <a:gd name="connsiteX6" fmla="*/ 9758 w 10249"/>
              <a:gd name="connsiteY6" fmla="*/ 14101 h 18638"/>
              <a:gd name="connsiteX7" fmla="*/ 10249 w 10249"/>
              <a:gd name="connsiteY7" fmla="*/ 9565 h 18638"/>
              <a:gd name="connsiteX8" fmla="*/ 10249 w 10249"/>
              <a:gd name="connsiteY8" fmla="*/ 8638 h 18638"/>
              <a:gd name="connsiteX9" fmla="*/ 9758 w 10249"/>
              <a:gd name="connsiteY9" fmla="*/ 13175 h 18638"/>
              <a:gd name="connsiteX0" fmla="*/ 9509 w 10000"/>
              <a:gd name="connsiteY0" fmla="*/ 11293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509 w 10000"/>
              <a:gd name="connsiteY9" fmla="*/ 11293 h 16756"/>
              <a:gd name="connsiteX0" fmla="*/ 9469 w 10000"/>
              <a:gd name="connsiteY0" fmla="*/ 0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9" fmla="*/ 9469 w 10000"/>
              <a:gd name="connsiteY9" fmla="*/ 0 h 16756"/>
              <a:gd name="connsiteX0" fmla="*/ 10000 w 10000"/>
              <a:gd name="connsiteY0" fmla="*/ 6756 h 16756"/>
              <a:gd name="connsiteX1" fmla="*/ 1336 w 10000"/>
              <a:gd name="connsiteY1" fmla="*/ 0 h 16756"/>
              <a:gd name="connsiteX2" fmla="*/ 0 w 10000"/>
              <a:gd name="connsiteY2" fmla="*/ 0 h 16756"/>
              <a:gd name="connsiteX3" fmla="*/ 0 w 10000"/>
              <a:gd name="connsiteY3" fmla="*/ 12219 h 16756"/>
              <a:gd name="connsiteX4" fmla="*/ 484 w 10000"/>
              <a:gd name="connsiteY4" fmla="*/ 16756 h 16756"/>
              <a:gd name="connsiteX5" fmla="*/ 972 w 10000"/>
              <a:gd name="connsiteY5" fmla="*/ 12219 h 16756"/>
              <a:gd name="connsiteX6" fmla="*/ 9509 w 10000"/>
              <a:gd name="connsiteY6" fmla="*/ 12219 h 16756"/>
              <a:gd name="connsiteX7" fmla="*/ 10000 w 10000"/>
              <a:gd name="connsiteY7" fmla="*/ 7683 h 16756"/>
              <a:gd name="connsiteX8" fmla="*/ 10000 w 10000"/>
              <a:gd name="connsiteY8" fmla="*/ 6756 h 16756"/>
              <a:gd name="connsiteX0" fmla="*/ 10000 w 10000"/>
              <a:gd name="connsiteY0" fmla="*/ 1280 h 18036"/>
              <a:gd name="connsiteX1" fmla="*/ 1336 w 10000"/>
              <a:gd name="connsiteY1" fmla="*/ 1280 h 18036"/>
              <a:gd name="connsiteX2" fmla="*/ 0 w 10000"/>
              <a:gd name="connsiteY2" fmla="*/ 1280 h 18036"/>
              <a:gd name="connsiteX3" fmla="*/ 0 w 10000"/>
              <a:gd name="connsiteY3" fmla="*/ 13499 h 18036"/>
              <a:gd name="connsiteX4" fmla="*/ 484 w 10000"/>
              <a:gd name="connsiteY4" fmla="*/ 18036 h 18036"/>
              <a:gd name="connsiteX5" fmla="*/ 972 w 10000"/>
              <a:gd name="connsiteY5" fmla="*/ 13499 h 18036"/>
              <a:gd name="connsiteX6" fmla="*/ 9509 w 10000"/>
              <a:gd name="connsiteY6" fmla="*/ 13499 h 18036"/>
              <a:gd name="connsiteX7" fmla="*/ 10000 w 10000"/>
              <a:gd name="connsiteY7" fmla="*/ 8963 h 18036"/>
              <a:gd name="connsiteX8" fmla="*/ 10000 w 10000"/>
              <a:gd name="connsiteY8" fmla="*/ 1280 h 18036"/>
              <a:gd name="connsiteX0" fmla="*/ 10000 w 10000"/>
              <a:gd name="connsiteY0" fmla="*/ 2036 h 18792"/>
              <a:gd name="connsiteX1" fmla="*/ 0 w 10000"/>
              <a:gd name="connsiteY1" fmla="*/ 2036 h 18792"/>
              <a:gd name="connsiteX2" fmla="*/ 0 w 10000"/>
              <a:gd name="connsiteY2" fmla="*/ 14255 h 18792"/>
              <a:gd name="connsiteX3" fmla="*/ 484 w 10000"/>
              <a:gd name="connsiteY3" fmla="*/ 18792 h 18792"/>
              <a:gd name="connsiteX4" fmla="*/ 972 w 10000"/>
              <a:gd name="connsiteY4" fmla="*/ 14255 h 18792"/>
              <a:gd name="connsiteX5" fmla="*/ 9509 w 10000"/>
              <a:gd name="connsiteY5" fmla="*/ 14255 h 18792"/>
              <a:gd name="connsiteX6" fmla="*/ 10000 w 10000"/>
              <a:gd name="connsiteY6" fmla="*/ 9719 h 18792"/>
              <a:gd name="connsiteX7" fmla="*/ 10000 w 10000"/>
              <a:gd name="connsiteY7" fmla="*/ 2036 h 18792"/>
              <a:gd name="connsiteX0" fmla="*/ 10000 w 10000"/>
              <a:gd name="connsiteY0" fmla="*/ 0 h 16756"/>
              <a:gd name="connsiteX1" fmla="*/ 0 w 10000"/>
              <a:gd name="connsiteY1" fmla="*/ 0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6756"/>
              <a:gd name="connsiteX1" fmla="*/ 0 w 10000"/>
              <a:gd name="connsiteY1" fmla="*/ 771 h 16756"/>
              <a:gd name="connsiteX2" fmla="*/ 0 w 10000"/>
              <a:gd name="connsiteY2" fmla="*/ 12219 h 16756"/>
              <a:gd name="connsiteX3" fmla="*/ 484 w 10000"/>
              <a:gd name="connsiteY3" fmla="*/ 16756 h 16756"/>
              <a:gd name="connsiteX4" fmla="*/ 972 w 10000"/>
              <a:gd name="connsiteY4" fmla="*/ 12219 h 16756"/>
              <a:gd name="connsiteX5" fmla="*/ 9509 w 10000"/>
              <a:gd name="connsiteY5" fmla="*/ 12219 h 16756"/>
              <a:gd name="connsiteX6" fmla="*/ 10000 w 10000"/>
              <a:gd name="connsiteY6" fmla="*/ 7683 h 16756"/>
              <a:gd name="connsiteX7" fmla="*/ 10000 w 10000"/>
              <a:gd name="connsiteY7" fmla="*/ 0 h 16756"/>
              <a:gd name="connsiteX0" fmla="*/ 10000 w 10000"/>
              <a:gd name="connsiteY0" fmla="*/ 0 h 15985"/>
              <a:gd name="connsiteX1" fmla="*/ 0 w 10000"/>
              <a:gd name="connsiteY1" fmla="*/ 0 h 15985"/>
              <a:gd name="connsiteX2" fmla="*/ 0 w 10000"/>
              <a:gd name="connsiteY2" fmla="*/ 11448 h 15985"/>
              <a:gd name="connsiteX3" fmla="*/ 484 w 10000"/>
              <a:gd name="connsiteY3" fmla="*/ 15985 h 15985"/>
              <a:gd name="connsiteX4" fmla="*/ 972 w 10000"/>
              <a:gd name="connsiteY4" fmla="*/ 11448 h 15985"/>
              <a:gd name="connsiteX5" fmla="*/ 9509 w 10000"/>
              <a:gd name="connsiteY5" fmla="*/ 11448 h 15985"/>
              <a:gd name="connsiteX6" fmla="*/ 10000 w 10000"/>
              <a:gd name="connsiteY6" fmla="*/ 6912 h 15985"/>
              <a:gd name="connsiteX7" fmla="*/ 10000 w 10000"/>
              <a:gd name="connsiteY7" fmla="*/ 0 h 1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5985">
                <a:moveTo>
                  <a:pt x="10000" y="0"/>
                </a:moveTo>
                <a:lnTo>
                  <a:pt x="0" y="0"/>
                </a:lnTo>
                <a:lnTo>
                  <a:pt x="0" y="11448"/>
                </a:lnTo>
                <a:cubicBezTo>
                  <a:pt x="382" y="11448"/>
                  <a:pt x="484" y="15985"/>
                  <a:pt x="484" y="15985"/>
                </a:cubicBezTo>
                <a:cubicBezTo>
                  <a:pt x="484" y="15985"/>
                  <a:pt x="587" y="11448"/>
                  <a:pt x="972" y="11448"/>
                </a:cubicBezTo>
                <a:lnTo>
                  <a:pt x="9509" y="11448"/>
                </a:lnTo>
                <a:cubicBezTo>
                  <a:pt x="9894" y="11448"/>
                  <a:pt x="10000" y="6912"/>
                  <a:pt x="10000" y="6912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fr-FR" sz="2400" dirty="0">
              <a:solidFill>
                <a:srgbClr val="6A1A41">
                  <a:lumMod val="50000"/>
                </a:srgbClr>
              </a:solidFill>
              <a:latin typeface="Calibri"/>
              <a:sym typeface="Calibri"/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31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" y="1"/>
            <a:ext cx="9905999" cy="7287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7027" y="1282700"/>
            <a:ext cx="9256713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8" name="TextBox 10"/>
          <p:cNvSpPr txBox="1"/>
          <p:nvPr userDrawn="1"/>
        </p:nvSpPr>
        <p:spPr>
          <a:xfrm>
            <a:off x="9606226" y="6630560"/>
            <a:ext cx="10579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fld id="{6A895693-0027-4F28-9367-92E39A51F51C}" type="slidenum">
              <a:rPr lang="en-US" sz="700" smtClean="0">
                <a:solidFill>
                  <a:srgbClr val="FFFFFF"/>
                </a:solidFill>
                <a:latin typeface="Calibri"/>
                <a:cs typeface="+mn-cs"/>
                <a:sym typeface="Calibri"/>
              </a:rPr>
              <a:pPr algn="ctr" defTabSz="957756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>
              <a:solidFill>
                <a:srgbClr val="FFFFFF"/>
              </a:solidFill>
              <a:latin typeface="Calibri"/>
              <a:cs typeface="+mn-cs"/>
              <a:sym typeface="Calibri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6834264" y="6620467"/>
            <a:ext cx="2660644" cy="12791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ctr" anchorCtr="0">
            <a:noAutofit/>
          </a:bodyPr>
          <a:lstStyle/>
          <a:p>
            <a:pPr algn="r" defTabSz="995445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700" dirty="0">
                <a:solidFill>
                  <a:srgbClr val="FFFFFF"/>
                </a:solidFill>
                <a:latin typeface="Calibri"/>
                <a:cs typeface="Arial" pitchFamily="34" charset="0"/>
                <a:sym typeface="Calibri"/>
              </a:rPr>
              <a:t>Copyright © Capgemini 2014. All Rights Reserved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5" y="6526091"/>
            <a:ext cx="2146978" cy="273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7594602" y="649129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/>
              </a:defRPr>
            </a:lvl1pPr>
          </a:lstStyle>
          <a:p>
            <a:pPr defTabSz="957756" fontAlgn="auto">
              <a:spcBef>
                <a:spcPts val="0"/>
              </a:spcBef>
              <a:spcAft>
                <a:spcPts val="0"/>
              </a:spcAft>
            </a:pPr>
            <a:fld id="{C2BE6133-895E-4BE2-A83C-15246EE6B8AC}" type="slidenum">
              <a:rPr lang="en-GB" smtClean="0">
                <a:solidFill>
                  <a:srgbClr val="000000">
                    <a:tint val="75000"/>
                  </a:srgbClr>
                </a:solidFill>
                <a:cs typeface="+mn-cs"/>
              </a:rPr>
              <a:pPr defTabSz="957756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3" r:id="rId13"/>
  </p:sldLayoutIdLst>
  <p:hf hdr="0" ftr="0"/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000" b="0" kern="1200" baseline="0">
          <a:solidFill>
            <a:schemeClr val="bg1"/>
          </a:solidFill>
          <a:latin typeface="Calibri" pitchFamily="34" charset="0"/>
          <a:ea typeface="+mj-ea"/>
          <a:cs typeface="+mj-cs"/>
        </a:defRPr>
      </a:lvl1pPr>
    </p:titleStyle>
    <p:bodyStyle>
      <a:lvl1pPr marL="231775" indent="-231775" algn="l" defTabSz="914342" rtl="0" eaLnBrk="1" latinLnBrk="0" hangingPunct="1">
        <a:spcBef>
          <a:spcPts val="0"/>
        </a:spcBef>
        <a:buClr>
          <a:schemeClr val="accent5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+mn-cs"/>
        </a:defRPr>
      </a:lvl1pPr>
      <a:lvl2pPr marL="463550" indent="-231775" algn="l" defTabSz="914342" rtl="0" eaLnBrk="1" latinLnBrk="0" hangingPunct="1">
        <a:spcBef>
          <a:spcPts val="0"/>
        </a:spcBef>
        <a:buClr>
          <a:schemeClr val="accent3"/>
        </a:buClr>
        <a:buFont typeface="Wingdings" pitchFamily="2" charset="2"/>
        <a:buChar char="§"/>
        <a:defRPr sz="1800" b="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+mn-cs"/>
        </a:defRPr>
      </a:lvl2pPr>
      <a:lvl3pPr marL="682625" indent="-219075" algn="l" defTabSz="914342" rtl="0" eaLnBrk="1" latinLnBrk="0" hangingPunct="1">
        <a:spcBef>
          <a:spcPts val="0"/>
        </a:spcBef>
        <a:buClr>
          <a:schemeClr val="accent2"/>
        </a:buClr>
        <a:buFont typeface="Arial" pitchFamily="34" charset="0"/>
        <a:buChar char="•"/>
        <a:defRPr sz="1600" b="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+mn-cs"/>
        </a:defRPr>
      </a:lvl3pPr>
      <a:lvl4pPr marL="914400" indent="-231775" algn="l" defTabSz="914342" rtl="0" eaLnBrk="1" latinLnBrk="0" hangingPunct="1">
        <a:spcBef>
          <a:spcPts val="0"/>
        </a:spcBef>
        <a:buClr>
          <a:schemeClr val="bg2"/>
        </a:buClr>
        <a:buFont typeface="Arial" pitchFamily="34" charset="0"/>
        <a:buChar char="–"/>
        <a:defRPr sz="1400" b="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936" name="think-cell Slide" r:id="rId18" imgW="270" imgH="270" progId="">
                  <p:embed/>
                </p:oleObj>
              </mc:Choice>
              <mc:Fallback>
                <p:oleObj name="think-cell Slide" r:id="rId18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8" y="0"/>
            <a:ext cx="95551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35038"/>
            <a:ext cx="9906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50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502401"/>
            <a:ext cx="2493759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grpSp>
        <p:nvGrpSpPr>
          <p:cNvPr id="3" name="Group_Sticker" hidden="1"/>
          <p:cNvGrpSpPr>
            <a:grpSpLocks/>
          </p:cNvGrpSpPr>
          <p:nvPr/>
        </p:nvGrpSpPr>
        <p:grpSpPr bwMode="auto">
          <a:xfrm>
            <a:off x="8999666" y="1036910"/>
            <a:ext cx="561974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69" y="618"/>
              <a:ext cx="272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  <a:latin typeface="Calibri"/>
                  <a:sym typeface="Calibri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</p:grpSp>
      <p:sp>
        <p:nvSpPr>
          <p:cNvPr id="16" name="FootnoteAndSource" hidden="1"/>
          <p:cNvSpPr txBox="1"/>
          <p:nvPr/>
        </p:nvSpPr>
        <p:spPr>
          <a:xfrm>
            <a:off x="406842" y="6207003"/>
            <a:ext cx="836768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  <a:latin typeface="Calibri"/>
                <a:sym typeface="Calibri"/>
              </a:rPr>
              <a:t>FootnoteAndSource</a:t>
            </a:r>
            <a:endParaRPr lang="de-DE" sz="8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0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  <p:sldLayoutId id="2147484023" r:id="rId11"/>
    <p:sldLayoutId id="2147484024" r:id="rId12"/>
    <p:sldLayoutId id="2147484025" r:id="rId13"/>
    <p:sldLayoutId id="2147484137" r:id="rId14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272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8" y="0"/>
            <a:ext cx="95551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35038"/>
            <a:ext cx="9906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50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502401"/>
            <a:ext cx="2493759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grpSp>
        <p:nvGrpSpPr>
          <p:cNvPr id="3" name="Group_Sticker" hidden="1"/>
          <p:cNvGrpSpPr>
            <a:grpSpLocks/>
          </p:cNvGrpSpPr>
          <p:nvPr/>
        </p:nvGrpSpPr>
        <p:grpSpPr bwMode="auto">
          <a:xfrm>
            <a:off x="8999666" y="1036910"/>
            <a:ext cx="561974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28" y="618"/>
              <a:ext cx="354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noteAndSource" hidden="1"/>
          <p:cNvSpPr txBox="1"/>
          <p:nvPr/>
        </p:nvSpPr>
        <p:spPr>
          <a:xfrm>
            <a:off x="406842" y="6207003"/>
            <a:ext cx="956475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</a:rPr>
              <a:t>FootnoteAndSource</a:t>
            </a:r>
            <a:endParaRPr lang="de-DE" sz="800" dirty="0">
              <a:solidFill>
                <a:srgbClr val="000000"/>
              </a:solidFill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0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  <p:sldLayoutId id="2147484039" r:id="rId7"/>
    <p:sldLayoutId id="2147484040" r:id="rId8"/>
    <p:sldLayoutId id="2147484041" r:id="rId9"/>
    <p:sldLayoutId id="2147484042" r:id="rId10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1320" name="think-cell Slide" r:id="rId17" imgW="270" imgH="270" progId="">
                  <p:embed/>
                </p:oleObj>
              </mc:Choice>
              <mc:Fallback>
                <p:oleObj name="think-cell Slide" r:id="rId17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8" y="0"/>
            <a:ext cx="95551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35038"/>
            <a:ext cx="9906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50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502401"/>
            <a:ext cx="2493759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grpSp>
        <p:nvGrpSpPr>
          <p:cNvPr id="3" name="Group_Sticker" hidden="1"/>
          <p:cNvGrpSpPr>
            <a:grpSpLocks/>
          </p:cNvGrpSpPr>
          <p:nvPr/>
        </p:nvGrpSpPr>
        <p:grpSpPr bwMode="auto">
          <a:xfrm>
            <a:off x="8999666" y="1036910"/>
            <a:ext cx="561974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28" y="618"/>
              <a:ext cx="354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noteAndSource" hidden="1"/>
          <p:cNvSpPr txBox="1"/>
          <p:nvPr/>
        </p:nvSpPr>
        <p:spPr>
          <a:xfrm>
            <a:off x="406842" y="6207003"/>
            <a:ext cx="956475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</a:rPr>
              <a:t>FootnoteAndSource</a:t>
            </a:r>
            <a:endParaRPr lang="de-DE" sz="800" dirty="0">
              <a:solidFill>
                <a:srgbClr val="000000"/>
              </a:solidFill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0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  <p:sldLayoutId id="2147484054" r:id="rId11"/>
    <p:sldLayoutId id="2147484055" r:id="rId12"/>
    <p:sldLayoutId id="2147484056" r:id="rId13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92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8" y="0"/>
            <a:ext cx="95551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35038"/>
            <a:ext cx="9906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50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502401"/>
            <a:ext cx="2493759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grpSp>
        <p:nvGrpSpPr>
          <p:cNvPr id="3" name="Group_Sticker" hidden="1"/>
          <p:cNvGrpSpPr>
            <a:grpSpLocks/>
          </p:cNvGrpSpPr>
          <p:nvPr/>
        </p:nvGrpSpPr>
        <p:grpSpPr bwMode="auto">
          <a:xfrm>
            <a:off x="8999666" y="1036910"/>
            <a:ext cx="561974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69" y="618"/>
              <a:ext cx="272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  <a:latin typeface="Calibri"/>
                  <a:sym typeface="Calibri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</p:grpSp>
      <p:sp>
        <p:nvSpPr>
          <p:cNvPr id="16" name="FootnoteAndSource" hidden="1"/>
          <p:cNvSpPr txBox="1"/>
          <p:nvPr/>
        </p:nvSpPr>
        <p:spPr>
          <a:xfrm>
            <a:off x="406842" y="6207003"/>
            <a:ext cx="836768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  <a:latin typeface="Calibri"/>
                <a:sym typeface="Calibri"/>
              </a:rPr>
              <a:t>FootnoteAndSource</a:t>
            </a:r>
            <a:endParaRPr lang="de-DE" sz="8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0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6680" name="think-cell Slide" r:id="rId17" imgW="270" imgH="270" progId="">
                  <p:embed/>
                </p:oleObj>
              </mc:Choice>
              <mc:Fallback>
                <p:oleObj name="think-cell Slide" r:id="rId17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8" y="0"/>
            <a:ext cx="95551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35038"/>
            <a:ext cx="9906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50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grpSp>
        <p:nvGrpSpPr>
          <p:cNvPr id="2" name="Group_Sticker" hidden="1"/>
          <p:cNvGrpSpPr>
            <a:grpSpLocks/>
          </p:cNvGrpSpPr>
          <p:nvPr/>
        </p:nvGrpSpPr>
        <p:grpSpPr bwMode="auto">
          <a:xfrm>
            <a:off x="8999666" y="1036910"/>
            <a:ext cx="561974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69" y="618"/>
              <a:ext cx="272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  <a:latin typeface="Calibri"/>
                  <a:sym typeface="Calibri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</p:grpSp>
      <p:sp>
        <p:nvSpPr>
          <p:cNvPr id="16" name="FootnoteAndSource" hidden="1"/>
          <p:cNvSpPr txBox="1"/>
          <p:nvPr/>
        </p:nvSpPr>
        <p:spPr>
          <a:xfrm>
            <a:off x="406842" y="6207003"/>
            <a:ext cx="836768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  <a:latin typeface="Calibri"/>
                <a:sym typeface="Calibri"/>
              </a:rPr>
              <a:t>FootnoteAndSource</a:t>
            </a:r>
            <a:endParaRPr lang="de-DE" sz="8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0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  <p:pic>
        <p:nvPicPr>
          <p:cNvPr id="22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1016" name="think-cell Slide" r:id="rId16" imgW="270" imgH="270" progId="">
                  <p:embed/>
                </p:oleObj>
              </mc:Choice>
              <mc:Fallback>
                <p:oleObj name="think-cell Slide" r:id="rId16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8" y="0"/>
            <a:ext cx="95551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30" name="Picture 8" descr="Grey_Shadow_Bar.jp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35038"/>
            <a:ext cx="9906000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50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6 Capgemini. All rights reserved.</a:t>
            </a:r>
          </a:p>
        </p:txBody>
      </p:sp>
      <p:grpSp>
        <p:nvGrpSpPr>
          <p:cNvPr id="2" name="Group_Sticker" hidden="1"/>
          <p:cNvGrpSpPr>
            <a:grpSpLocks/>
          </p:cNvGrpSpPr>
          <p:nvPr/>
        </p:nvGrpSpPr>
        <p:grpSpPr bwMode="auto">
          <a:xfrm>
            <a:off x="8999666" y="1036910"/>
            <a:ext cx="561974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69" y="618"/>
              <a:ext cx="272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  <a:latin typeface="Calibri"/>
                  <a:sym typeface="Calibri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  <a:sym typeface="Calibri"/>
              </a:endParaRPr>
            </a:p>
          </p:txBody>
        </p:sp>
      </p:grpSp>
      <p:sp>
        <p:nvSpPr>
          <p:cNvPr id="16" name="FootnoteAndSource" hidden="1"/>
          <p:cNvSpPr txBox="1"/>
          <p:nvPr/>
        </p:nvSpPr>
        <p:spPr>
          <a:xfrm>
            <a:off x="406842" y="6207003"/>
            <a:ext cx="836768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  <a:latin typeface="Calibri"/>
                <a:sym typeface="Calibri"/>
              </a:rPr>
              <a:t>FootnoteAndSource</a:t>
            </a:r>
            <a:endParaRPr lang="de-DE" sz="8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0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  <p:pic>
        <p:nvPicPr>
          <p:cNvPr id="22" name="Picture 2" descr="D:\dump\Logos_Banners_Icons\CC-Logo_RGB_150dpi.png"/>
          <p:cNvPicPr>
            <a:picLocks noChangeAspect="1" noChangeArrowheads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800" y="6498403"/>
            <a:ext cx="2134780" cy="224943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2" r:id="rId9"/>
    <p:sldLayoutId id="2147484103" r:id="rId10"/>
    <p:sldLayoutId id="2147484104" r:id="rId11"/>
    <p:sldLayoutId id="2147484105" r:id="rId12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2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openxmlformats.org/officeDocument/2006/relationships/image" Target="../media/image30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tags" Target="../tags/tag154.xml"/><Relationship Id="rId16" Type="http://schemas.openxmlformats.org/officeDocument/2006/relationships/image" Target="../media/image54.png"/><Relationship Id="rId1" Type="http://schemas.openxmlformats.org/officeDocument/2006/relationships/tags" Target="../tags/tag153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19" Type="http://schemas.openxmlformats.org/officeDocument/2006/relationships/image" Target="../media/image5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30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590.png"/><Relationship Id="rId5" Type="http://schemas.openxmlformats.org/officeDocument/2006/relationships/slide" Target="slide21.xml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18" Type="http://schemas.openxmlformats.org/officeDocument/2006/relationships/image" Target="../media/image7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68.png"/><Relationship Id="rId17" Type="http://schemas.openxmlformats.org/officeDocument/2006/relationships/image" Target="../media/image73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72.gif"/><Relationship Id="rId20" Type="http://schemas.openxmlformats.org/officeDocument/2006/relationships/image" Target="../media/image75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5" Type="http://schemas.openxmlformats.org/officeDocument/2006/relationships/image" Target="../media/image71.png"/><Relationship Id="rId10" Type="http://schemas.openxmlformats.org/officeDocument/2006/relationships/image" Target="../media/image66.png"/><Relationship Id="rId19" Type="http://schemas.microsoft.com/office/2007/relationships/hdphoto" Target="../media/hdphoto1.wdp"/><Relationship Id="rId4" Type="http://schemas.openxmlformats.org/officeDocument/2006/relationships/image" Target="../media/image60.png"/><Relationship Id="rId9" Type="http://schemas.openxmlformats.org/officeDocument/2006/relationships/image" Target="../media/image65.png"/><Relationship Id="rId14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9.xml"/><Relationship Id="rId4" Type="http://schemas.openxmlformats.org/officeDocument/2006/relationships/tags" Target="../tags/tag15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1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3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35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image" Target="../media/image89.png"/><Relationship Id="rId7" Type="http://schemas.openxmlformats.org/officeDocument/2006/relationships/image" Target="../media/image92.jpe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35.xml"/><Relationship Id="rId6" Type="http://schemas.openxmlformats.org/officeDocument/2006/relationships/image" Target="../media/image91.jpeg"/><Relationship Id="rId5" Type="http://schemas.microsoft.com/office/2007/relationships/hdphoto" Target="../media/hdphoto2.wdp"/><Relationship Id="rId4" Type="http://schemas.openxmlformats.org/officeDocument/2006/relationships/image" Target="../media/image9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35.xml"/><Relationship Id="rId4" Type="http://schemas.openxmlformats.org/officeDocument/2006/relationships/slide" Target="slide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20.xml"/><Relationship Id="rId13" Type="http://schemas.openxmlformats.org/officeDocument/2006/relationships/image" Target="../media/image30.png"/><Relationship Id="rId3" Type="http://schemas.openxmlformats.org/officeDocument/2006/relationships/slide" Target="slide7.xml"/><Relationship Id="rId7" Type="http://schemas.openxmlformats.org/officeDocument/2006/relationships/image" Target="../media/image34.jpeg"/><Relationship Id="rId12" Type="http://schemas.openxmlformats.org/officeDocument/2006/relationships/image" Target="../media/image37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9.xml"/><Relationship Id="rId6" Type="http://schemas.openxmlformats.org/officeDocument/2006/relationships/slide" Target="slide17.xml"/><Relationship Id="rId11" Type="http://schemas.openxmlformats.org/officeDocument/2006/relationships/image" Target="../media/image36.png"/><Relationship Id="rId5" Type="http://schemas.openxmlformats.org/officeDocument/2006/relationships/image" Target="../media/image33.png"/><Relationship Id="rId10" Type="http://schemas.openxmlformats.org/officeDocument/2006/relationships/slide" Target="slide24.xml"/><Relationship Id="rId4" Type="http://schemas.openxmlformats.org/officeDocument/2006/relationships/image" Target="../media/image32.jpeg"/><Relationship Id="rId9" Type="http://schemas.openxmlformats.org/officeDocument/2006/relationships/image" Target="../media/image3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23.xml"/><Relationship Id="rId13" Type="http://schemas.openxmlformats.org/officeDocument/2006/relationships/image" Target="../media/image41.png"/><Relationship Id="rId1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9.png"/><Relationship Id="rId12" Type="http://schemas.openxmlformats.org/officeDocument/2006/relationships/image" Target="../media/image330.png"/><Relationship Id="rId17" Type="http://schemas.openxmlformats.org/officeDocument/2006/relationships/slide" Target="slide26.xml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2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80.png"/><Relationship Id="rId11" Type="http://schemas.openxmlformats.org/officeDocument/2006/relationships/slide" Target="slide24.xml"/><Relationship Id="rId5" Type="http://schemas.openxmlformats.org/officeDocument/2006/relationships/slide" Target="slide22.xml"/><Relationship Id="rId15" Type="http://schemas.openxmlformats.org/officeDocument/2006/relationships/image" Target="../media/image34.png"/><Relationship Id="rId10" Type="http://schemas.openxmlformats.org/officeDocument/2006/relationships/image" Target="../media/image40.png"/><Relationship Id="rId4" Type="http://schemas.openxmlformats.org/officeDocument/2006/relationships/image" Target="../media/image38.png"/><Relationship Id="rId9" Type="http://schemas.openxmlformats.org/officeDocument/2006/relationships/image" Target="../media/image32.png"/><Relationship Id="rId14" Type="http://schemas.openxmlformats.org/officeDocument/2006/relationships/slide" Target="slide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7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>
          <a:xfrm>
            <a:off x="344488" y="4071521"/>
            <a:ext cx="6696000" cy="515901"/>
          </a:xfrm>
        </p:spPr>
        <p:txBody>
          <a:bodyPr/>
          <a:lstStyle/>
          <a:p>
            <a:r>
              <a:rPr lang="en-GB" dirty="0"/>
              <a:t>Final Presentation to Steering Committee </a:t>
            </a:r>
          </a:p>
          <a:p>
            <a:r>
              <a:rPr lang="en-GB" dirty="0"/>
              <a:t>19</a:t>
            </a:r>
            <a:r>
              <a:rPr lang="en-GB" baseline="30000" dirty="0"/>
              <a:t>th</a:t>
            </a:r>
            <a:r>
              <a:rPr lang="en-GB" dirty="0"/>
              <a:t> December 2017 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344488" y="2956669"/>
            <a:ext cx="7776952" cy="945625"/>
          </a:xfrm>
        </p:spPr>
        <p:txBody>
          <a:bodyPr anchor="ctr"/>
          <a:lstStyle/>
          <a:p>
            <a:r>
              <a:rPr lang="en-GB" sz="2800" dirty="0" err="1"/>
              <a:t>TOIstudent</a:t>
            </a:r>
            <a:r>
              <a:rPr lang="en-GB" sz="2800" dirty="0"/>
              <a:t> - Digital Strategy and Roadmap</a:t>
            </a:r>
            <a:br>
              <a:rPr lang="en-GB" sz="2800" dirty="0"/>
            </a:br>
            <a:r>
              <a:rPr lang="en-GB" sz="2400" dirty="0">
                <a:solidFill>
                  <a:srgbClr val="C00000"/>
                </a:solidFill>
              </a:rPr>
              <a:t>Executive Deck</a:t>
            </a:r>
            <a:endParaRPr lang="en-GB" sz="2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00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FC83B-E20C-492A-9B54-863E950B8E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rticle Page and Logi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0EAC1E-C000-4090-80E3-5A1248233E0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505EE9-48C3-48A8-ADF3-5A8F503A6FC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10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685C3C-322D-44C2-A2E9-B9CCF07429F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78EA04-727C-43DC-9A1B-BCFF6A52166A}"/>
              </a:ext>
            </a:extLst>
          </p:cNvPr>
          <p:cNvSpPr/>
          <p:nvPr/>
        </p:nvSpPr>
        <p:spPr bwMode="auto">
          <a:xfrm rot="19442606">
            <a:off x="42852" y="1322714"/>
            <a:ext cx="1317448" cy="432059"/>
          </a:xfrm>
          <a:prstGeom prst="rect">
            <a:avLst/>
          </a:prstGeom>
          <a:solidFill>
            <a:schemeClr val="accent3"/>
          </a:solidFill>
          <a:ln w="2857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en-US" sz="2400" b="1" dirty="0">
                <a:solidFill>
                  <a:schemeClr val="accent2"/>
                </a:solidFill>
                <a:cs typeface="+mn-cs"/>
              </a:rPr>
              <a:t>WIP</a:t>
            </a:r>
          </a:p>
        </p:txBody>
      </p:sp>
    </p:spTree>
    <p:extLst>
      <p:ext uri="{BB962C8B-B14F-4D97-AF65-F5344CB8AC3E}">
        <p14:creationId xmlns:p14="http://schemas.microsoft.com/office/powerpoint/2010/main" val="2465713977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A3673-FBA4-45EF-B6B5-664BF9515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s Group Resources</a:t>
            </a:r>
            <a:br>
              <a:rPr lang="en-US" dirty="0"/>
            </a:br>
            <a:r>
              <a:rPr lang="en-US" sz="1400" dirty="0"/>
              <a:t>Content, Website Widget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F6BE9A-752D-46BF-97F8-F31ABA5728EC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6609230" y="6511569"/>
            <a:ext cx="3207970" cy="201600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E50C0-B3B1-47D3-9F40-AA78D2A0323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11</a:t>
            </a:fld>
            <a:endParaRPr lang="en-GB" dirty="0">
              <a:solidFill>
                <a:srgbClr val="85888B"/>
              </a:solidFill>
            </a:endParaRPr>
          </a:p>
        </p:txBody>
      </p:sp>
      <p:graphicFrame>
        <p:nvGraphicFramePr>
          <p:cNvPr id="21" name="Group 39">
            <a:extLst>
              <a:ext uri="{FF2B5EF4-FFF2-40B4-BE49-F238E27FC236}">
                <a16:creationId xmlns:a16="http://schemas.microsoft.com/office/drawing/2014/main" id="{651BF5C4-1DB1-4E77-B56B-AC6C0B1002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5735938"/>
              </p:ext>
            </p:extLst>
          </p:nvPr>
        </p:nvGraphicFramePr>
        <p:xfrm>
          <a:off x="3407337" y="1556740"/>
          <a:ext cx="6309912" cy="3752608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7199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5936">
                  <a:extLst>
                    <a:ext uri="{9D8B030D-6E8A-4147-A177-3AD203B41FA5}">
                      <a16:colId xmlns:a16="http://schemas.microsoft.com/office/drawing/2014/main" val="2409486967"/>
                    </a:ext>
                  </a:extLst>
                </a:gridCol>
                <a:gridCol w="13679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709638018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343460998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Value Prop.</a:t>
                      </a:r>
                    </a:p>
                  </a:txBody>
                  <a:tcPr marL="90000" marR="90000" marT="46800" marB="468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Category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Calibri" pitchFamily="34" charset="0"/>
                        </a:rPr>
                        <a:t>Times Group Website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Calibri" pitchFamily="34" charset="0"/>
                        </a:rPr>
                        <a:t>Content Format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Calibri" pitchFamily="34" charset="0"/>
                        </a:rPr>
                        <a:t>Content %*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Top New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News Feed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25%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Newsmaker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New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Sport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Live Score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20%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Entertainment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Audio, Twitter Feed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20%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Science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58838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Technology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Video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25%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5995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Auto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Video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10%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76547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Lifestyle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Video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Horoscope Widget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20%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68764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Explore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Self Development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126291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Science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Text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10%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907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Technology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Text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10%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249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Game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-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858631"/>
                  </a:ext>
                </a:extLst>
              </a:tr>
            </a:tbl>
          </a:graphicData>
        </a:graphic>
      </p:graphicFrame>
      <p:pic>
        <p:nvPicPr>
          <p:cNvPr id="22" name="Picture 2" descr="Knowledge">
            <a:extLst>
              <a:ext uri="{FF2B5EF4-FFF2-40B4-BE49-F238E27FC236}">
                <a16:creationId xmlns:a16="http://schemas.microsoft.com/office/drawing/2014/main" id="{949E020E-C94E-4690-B744-22F553BFA9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372"/>
          <a:stretch/>
        </p:blipFill>
        <p:spPr bwMode="auto">
          <a:xfrm>
            <a:off x="5664433" y="4653611"/>
            <a:ext cx="822960" cy="257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ttps://www.astrospeak.com/assets/images/frontend/astrospeak_logo.png">
            <a:extLst>
              <a:ext uri="{FF2B5EF4-FFF2-40B4-BE49-F238E27FC236}">
                <a16:creationId xmlns:a16="http://schemas.microsoft.com/office/drawing/2014/main" id="{0A9576CA-F614-43CE-9F37-0E946EAA5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647" y="4046008"/>
            <a:ext cx="822960" cy="145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6A8CFBC-07E7-4BCB-8D93-FD04971BC539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64433" y="3834658"/>
            <a:ext cx="822960" cy="14996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F801685-7585-44BD-9943-C4F63331D03B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92163" y="3589475"/>
            <a:ext cx="822960" cy="9265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90758BD-6774-4632-9D0D-C932B3D2E2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0034" b="15150"/>
          <a:stretch/>
        </p:blipFill>
        <p:spPr>
          <a:xfrm>
            <a:off x="5451057" y="2833582"/>
            <a:ext cx="548640" cy="11145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7BFCA46-30B6-4702-88C6-E81A27353639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71707" y="2823816"/>
            <a:ext cx="548640" cy="10638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D75252B-9756-4686-891D-80ED52CF6033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1568" b="11928"/>
          <a:stretch/>
        </p:blipFill>
        <p:spPr>
          <a:xfrm>
            <a:off x="5633937" y="2522128"/>
            <a:ext cx="365760" cy="18531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0818117-334B-47DA-8253-537669611679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1484" b="14664"/>
          <a:stretch/>
        </p:blipFill>
        <p:spPr>
          <a:xfrm>
            <a:off x="6037382" y="2544008"/>
            <a:ext cx="548640" cy="17441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BB25E11-A951-4BBC-AF7E-C61674A8E18D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15727" y="2043289"/>
            <a:ext cx="457200" cy="128018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69F184F-6C92-4619-B805-E636230BE59F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84207" y="2043985"/>
            <a:ext cx="731520" cy="12966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76E2DD9-ADD1-4A65-A1E9-C4EC9F7B1A0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10032" y="3295323"/>
            <a:ext cx="548640" cy="205437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82FBF13A-8B2F-4522-ADFA-72F847E1BBD2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7807" b="9427"/>
          <a:stretch/>
        </p:blipFill>
        <p:spPr>
          <a:xfrm>
            <a:off x="6310056" y="3271210"/>
            <a:ext cx="228600" cy="24490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2F760756-2B84-43E9-B742-D898F2060666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17" t="37507" r="9322" b="39812"/>
          <a:stretch/>
        </p:blipFill>
        <p:spPr>
          <a:xfrm>
            <a:off x="5638951" y="5064845"/>
            <a:ext cx="822960" cy="224446"/>
          </a:xfrm>
          <a:prstGeom prst="rect">
            <a:avLst/>
          </a:prstGeom>
        </p:spPr>
      </p:pic>
      <p:sp>
        <p:nvSpPr>
          <p:cNvPr id="44" name="Rounded Rectangle 25">
            <a:extLst>
              <a:ext uri="{FF2B5EF4-FFF2-40B4-BE49-F238E27FC236}">
                <a16:creationId xmlns:a16="http://schemas.microsoft.com/office/drawing/2014/main" id="{23829CD8-8EC9-483D-80E5-6E798ED0B40F}"/>
              </a:ext>
            </a:extLst>
          </p:cNvPr>
          <p:cNvSpPr/>
          <p:nvPr/>
        </p:nvSpPr>
        <p:spPr>
          <a:xfrm>
            <a:off x="1" y="5589300"/>
            <a:ext cx="9906002" cy="685800"/>
          </a:xfrm>
          <a:prstGeom prst="roundRect">
            <a:avLst>
              <a:gd name="adj" fmla="val 0"/>
            </a:avLst>
          </a:prstGeom>
          <a:solidFill>
            <a:schemeClr val="bg2">
              <a:lumMod val="7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031A402-F537-4AE4-8A14-C07DF17177DA}"/>
              </a:ext>
            </a:extLst>
          </p:cNvPr>
          <p:cNvSpPr/>
          <p:nvPr/>
        </p:nvSpPr>
        <p:spPr bwMode="auto">
          <a:xfrm>
            <a:off x="522292" y="5589300"/>
            <a:ext cx="1694328" cy="684846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Aft>
                <a:spcPts val="300"/>
              </a:spcAft>
            </a:pPr>
            <a:r>
              <a:rPr lang="en-US" b="1" dirty="0">
                <a:solidFill>
                  <a:srgbClr val="0B71AE"/>
                </a:solidFill>
                <a:cs typeface="+mn-cs"/>
              </a:rPr>
              <a:t>Recommendation</a:t>
            </a:r>
          </a:p>
        </p:txBody>
      </p:sp>
      <p:pic>
        <p:nvPicPr>
          <p:cNvPr id="46" name="Picture 4" descr="Image result for capgemini new logo">
            <a:extLst>
              <a:ext uri="{FF2B5EF4-FFF2-40B4-BE49-F238E27FC236}">
                <a16:creationId xmlns:a16="http://schemas.microsoft.com/office/drawing/2014/main" id="{61A3D83A-31F0-405D-8E28-5722710024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3" y="570441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ounded Rectangle 25">
            <a:extLst>
              <a:ext uri="{FF2B5EF4-FFF2-40B4-BE49-F238E27FC236}">
                <a16:creationId xmlns:a16="http://schemas.microsoft.com/office/drawing/2014/main" id="{771FBB15-7364-465B-AEA2-3E2AD4AF1C3F}"/>
              </a:ext>
            </a:extLst>
          </p:cNvPr>
          <p:cNvSpPr/>
          <p:nvPr/>
        </p:nvSpPr>
        <p:spPr>
          <a:xfrm>
            <a:off x="2404078" y="5589300"/>
            <a:ext cx="6979630" cy="684846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b="1" dirty="0">
                <a:latin typeface="+mn-lt"/>
              </a:rPr>
              <a:t>The website should have widgets and video galleries to showcase the content that is already available on TOI group websites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BDBA2E44-4E0A-47DF-AD47-246859D99B27}"/>
              </a:ext>
            </a:extLst>
          </p:cNvPr>
          <p:cNvGrpSpPr/>
          <p:nvPr/>
        </p:nvGrpSpPr>
        <p:grpSpPr>
          <a:xfrm>
            <a:off x="293706" y="2210347"/>
            <a:ext cx="2426984" cy="2589286"/>
            <a:chOff x="1196861" y="2020983"/>
            <a:chExt cx="2426984" cy="2589286"/>
          </a:xfrm>
        </p:grpSpPr>
        <p:sp>
          <p:nvSpPr>
            <p:cNvPr id="156" name="Ellipse 9">
              <a:extLst>
                <a:ext uri="{FF2B5EF4-FFF2-40B4-BE49-F238E27FC236}">
                  <a16:creationId xmlns:a16="http://schemas.microsoft.com/office/drawing/2014/main" id="{52C7DB16-A9B0-4648-BE37-37421DCDF891}"/>
                </a:ext>
              </a:extLst>
            </p:cNvPr>
            <p:cNvSpPr/>
            <p:nvPr/>
          </p:nvSpPr>
          <p:spPr bwMode="auto">
            <a:xfrm>
              <a:off x="2229361" y="2913458"/>
              <a:ext cx="1394484" cy="1394485"/>
            </a:xfrm>
            <a:prstGeom prst="ellipse">
              <a:avLst/>
            </a:prstGeom>
            <a:solidFill>
              <a:srgbClr val="06303B">
                <a:alpha val="80000"/>
              </a:srgbClr>
            </a:solidFill>
            <a:ln w="19050" algn="ctr">
              <a:noFill/>
              <a:miter lim="800000"/>
              <a:headEnd/>
              <a:tailEnd/>
            </a:ln>
            <a:effectLst/>
            <a:scene3d>
              <a:camera prst="orthographicFront"/>
              <a:lightRig rig="balanced" dir="t"/>
            </a:scene3d>
            <a:sp3d>
              <a:bevelB w="0" h="0" prst="coolSlant"/>
            </a:sp3d>
          </p:spPr>
          <p:txBody>
            <a:bodyPr wrap="none" lIns="0" tIns="0" rIns="0" bIns="0" anchor="ctr"/>
            <a:lstStyle/>
            <a:p>
              <a:pPr lvl="4" algn="r" defTabSz="801688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2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57" name="Ellipse 9">
              <a:extLst>
                <a:ext uri="{FF2B5EF4-FFF2-40B4-BE49-F238E27FC236}">
                  <a16:creationId xmlns:a16="http://schemas.microsoft.com/office/drawing/2014/main" id="{F17E5ED9-FD5A-43DC-8EE8-FB425AEF5660}"/>
                </a:ext>
              </a:extLst>
            </p:cNvPr>
            <p:cNvSpPr/>
            <p:nvPr/>
          </p:nvSpPr>
          <p:spPr bwMode="auto">
            <a:xfrm>
              <a:off x="1196861" y="2896567"/>
              <a:ext cx="1394484" cy="1394485"/>
            </a:xfrm>
            <a:prstGeom prst="ellipse">
              <a:avLst/>
            </a:prstGeom>
            <a:solidFill>
              <a:schemeClr val="bg1">
                <a:lumMod val="65000"/>
                <a:alpha val="80000"/>
              </a:schemeClr>
            </a:solidFill>
            <a:ln w="19050" algn="ctr">
              <a:noFill/>
              <a:miter lim="800000"/>
              <a:headEnd/>
              <a:tailEnd/>
            </a:ln>
            <a:effectLst/>
            <a:scene3d>
              <a:camera prst="orthographicFront"/>
              <a:lightRig rig="balanced" dir="t"/>
            </a:scene3d>
            <a:sp3d>
              <a:bevelB w="0" h="0" prst="coolSlant"/>
            </a:sp3d>
          </p:spPr>
          <p:txBody>
            <a:bodyPr wrap="none" lIns="0" tIns="0" rIns="0" bIns="0" anchor="ctr"/>
            <a:lstStyle/>
            <a:p>
              <a:pPr marL="0" marR="0" lvl="0" indent="0" defTabSz="801688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sz="1200" kern="0" dirty="0">
                <a:latin typeface="Calibri"/>
              </a:endParaRPr>
            </a:p>
          </p:txBody>
        </p:sp>
        <p:sp>
          <p:nvSpPr>
            <p:cNvPr id="158" name="Ellipse 9">
              <a:extLst>
                <a:ext uri="{FF2B5EF4-FFF2-40B4-BE49-F238E27FC236}">
                  <a16:creationId xmlns:a16="http://schemas.microsoft.com/office/drawing/2014/main" id="{C2080CE8-5A44-4860-AE81-7EC3159DA514}"/>
                </a:ext>
              </a:extLst>
            </p:cNvPr>
            <p:cNvSpPr/>
            <p:nvPr/>
          </p:nvSpPr>
          <p:spPr bwMode="auto">
            <a:xfrm>
              <a:off x="1721691" y="2020983"/>
              <a:ext cx="1394484" cy="1394485"/>
            </a:xfrm>
            <a:prstGeom prst="ellipse">
              <a:avLst/>
            </a:prstGeom>
            <a:solidFill>
              <a:schemeClr val="accent3">
                <a:lumMod val="40000"/>
                <a:lumOff val="60000"/>
                <a:alpha val="80000"/>
              </a:schemeClr>
            </a:solidFill>
            <a:ln w="19050" algn="ctr">
              <a:noFill/>
              <a:miter lim="800000"/>
              <a:headEnd/>
              <a:tailEnd/>
            </a:ln>
            <a:effectLst/>
            <a:scene3d>
              <a:camera prst="orthographicFront"/>
              <a:lightRig rig="balanced" dir="t"/>
            </a:scene3d>
            <a:sp3d>
              <a:bevelB w="0" h="0" prst="coolSlant"/>
            </a:sp3d>
          </p:spPr>
          <p:txBody>
            <a:bodyPr wrap="none" lIns="0" tIns="0" rIns="0" bIns="0" anchor="t"/>
            <a:lstStyle/>
            <a:p>
              <a:pPr marL="0" marR="0" lvl="0" indent="0" algn="ctr" defTabSz="801688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sz="1200" kern="0" dirty="0">
                <a:latin typeface="Calibri"/>
              </a:endParaRPr>
            </a:p>
          </p:txBody>
        </p:sp>
        <p:sp>
          <p:nvSpPr>
            <p:cNvPr id="159" name="Ellipse 8">
              <a:extLst>
                <a:ext uri="{FF2B5EF4-FFF2-40B4-BE49-F238E27FC236}">
                  <a16:creationId xmlns:a16="http://schemas.microsoft.com/office/drawing/2014/main" id="{199EB657-3393-496D-A9D5-CEB92A974279}"/>
                </a:ext>
              </a:extLst>
            </p:cNvPr>
            <p:cNvSpPr/>
            <p:nvPr/>
          </p:nvSpPr>
          <p:spPr bwMode="auto">
            <a:xfrm>
              <a:off x="1808473" y="2686884"/>
              <a:ext cx="1188720" cy="1188720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1920240" bIns="0" rtlCol="0" anchor="ctr"/>
            <a:lstStyle/>
            <a:p>
              <a:pPr marL="1920240" lvl="4" algn="ctr"/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</a:rPr>
                <a:t>TOIStudent </a:t>
              </a:r>
            </a:p>
            <a:p>
              <a:pPr marL="1920240" lvl="4" algn="ctr"/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</a:rPr>
                <a:t>Content</a:t>
              </a:r>
            </a:p>
          </p:txBody>
        </p:sp>
        <p:sp>
          <p:nvSpPr>
            <p:cNvPr id="160" name="Textfeld 117">
              <a:extLst>
                <a:ext uri="{FF2B5EF4-FFF2-40B4-BE49-F238E27FC236}">
                  <a16:creationId xmlns:a16="http://schemas.microsoft.com/office/drawing/2014/main" id="{58D2AD01-8F2F-4404-808A-B01C9BBEE884}"/>
                </a:ext>
              </a:extLst>
            </p:cNvPr>
            <p:cNvSpPr txBox="1"/>
            <p:nvPr/>
          </p:nvSpPr>
          <p:spPr bwMode="white">
            <a:xfrm>
              <a:off x="2707948" y="3342321"/>
              <a:ext cx="863218" cy="757130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r">
                <a:lnSpc>
                  <a:spcPct val="90000"/>
                </a:lnSpc>
              </a:pPr>
              <a:r>
                <a:rPr lang="en-GB" sz="1200" dirty="0">
                  <a:solidFill>
                    <a:srgbClr val="FFFFFF"/>
                  </a:solidFill>
                  <a:latin typeface="Calibri"/>
                </a:rPr>
                <a:t>Times Group Resources</a:t>
              </a:r>
            </a:p>
            <a:p>
              <a:pPr algn="r">
                <a:lnSpc>
                  <a:spcPct val="90000"/>
                </a:lnSpc>
              </a:pPr>
              <a:r>
                <a:rPr lang="en-GB" sz="1200" dirty="0">
                  <a:solidFill>
                    <a:srgbClr val="FFFFFF"/>
                  </a:solidFill>
                  <a:latin typeface="Calibri"/>
                </a:rPr>
                <a:t>(~20%*)</a:t>
              </a:r>
            </a:p>
          </p:txBody>
        </p:sp>
        <p:sp>
          <p:nvSpPr>
            <p:cNvPr id="161" name="Textfeld 84">
              <a:extLst>
                <a:ext uri="{FF2B5EF4-FFF2-40B4-BE49-F238E27FC236}">
                  <a16:creationId xmlns:a16="http://schemas.microsoft.com/office/drawing/2014/main" id="{0D3FD2D3-6D73-43A3-80D3-CAAAC3B755E7}"/>
                </a:ext>
              </a:extLst>
            </p:cNvPr>
            <p:cNvSpPr txBox="1"/>
            <p:nvPr/>
          </p:nvSpPr>
          <p:spPr bwMode="white">
            <a:xfrm>
              <a:off x="1222158" y="3450872"/>
              <a:ext cx="711828" cy="59093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latin typeface="Calibri"/>
                </a:rPr>
                <a:t>External Sources</a:t>
              </a:r>
            </a:p>
            <a:p>
              <a:pPr>
                <a:lnSpc>
                  <a:spcPct val="90000"/>
                </a:lnSpc>
              </a:pPr>
              <a:r>
                <a:rPr lang="en-GB" sz="1200" dirty="0">
                  <a:latin typeface="Calibri"/>
                </a:rPr>
                <a:t>(~20%*)</a:t>
              </a:r>
            </a:p>
          </p:txBody>
        </p:sp>
        <p:sp>
          <p:nvSpPr>
            <p:cNvPr id="162" name="Textfeld 85">
              <a:extLst>
                <a:ext uri="{FF2B5EF4-FFF2-40B4-BE49-F238E27FC236}">
                  <a16:creationId xmlns:a16="http://schemas.microsoft.com/office/drawing/2014/main" id="{A3F1A8E7-1FE8-46DE-ADC8-5E4F13085B64}"/>
                </a:ext>
              </a:extLst>
            </p:cNvPr>
            <p:cNvSpPr txBox="1"/>
            <p:nvPr/>
          </p:nvSpPr>
          <p:spPr bwMode="white">
            <a:xfrm>
              <a:off x="2055778" y="2087476"/>
              <a:ext cx="726309" cy="59093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Original Content</a:t>
              </a:r>
            </a:p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(60%*)</a:t>
              </a:r>
            </a:p>
          </p:txBody>
        </p:sp>
        <p:pic>
          <p:nvPicPr>
            <p:cNvPr id="163" name="Picture 8">
              <a:extLst>
                <a:ext uri="{FF2B5EF4-FFF2-40B4-BE49-F238E27FC236}">
                  <a16:creationId xmlns:a16="http://schemas.microsoft.com/office/drawing/2014/main" id="{6DBD38E9-0275-4E88-A371-7DCC635318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57006" y="4339397"/>
              <a:ext cx="2323852" cy="270872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</p:grp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EF6AE97-F33C-477C-B00C-D6D79AE2201B}"/>
              </a:ext>
            </a:extLst>
          </p:cNvPr>
          <p:cNvCxnSpPr>
            <a:cxnSpLocks/>
            <a:stCxn id="156" idx="7"/>
          </p:cNvCxnSpPr>
          <p:nvPr/>
        </p:nvCxnSpPr>
        <p:spPr>
          <a:xfrm flipV="1">
            <a:off x="2516473" y="1788380"/>
            <a:ext cx="852307" cy="1518660"/>
          </a:xfrm>
          <a:prstGeom prst="straightConnector1">
            <a:avLst/>
          </a:prstGeom>
          <a:ln w="28575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AEFAAC3D-2BB7-4681-9A7E-5FBD716708BD}"/>
              </a:ext>
            </a:extLst>
          </p:cNvPr>
          <p:cNvCxnSpPr>
            <a:cxnSpLocks/>
            <a:stCxn id="156" idx="5"/>
          </p:cNvCxnSpPr>
          <p:nvPr/>
        </p:nvCxnSpPr>
        <p:spPr>
          <a:xfrm>
            <a:off x="2516473" y="4293089"/>
            <a:ext cx="852307" cy="996202"/>
          </a:xfrm>
          <a:prstGeom prst="straightConnector1">
            <a:avLst/>
          </a:prstGeom>
          <a:ln w="28575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Content Placeholder 5">
            <a:extLst>
              <a:ext uri="{FF2B5EF4-FFF2-40B4-BE49-F238E27FC236}">
                <a16:creationId xmlns:a16="http://schemas.microsoft.com/office/drawing/2014/main" id="{AF15BA42-5560-475B-AE5C-238B16258012}"/>
              </a:ext>
            </a:extLst>
          </p:cNvPr>
          <p:cNvSpPr txBox="1">
            <a:spLocks/>
          </p:cNvSpPr>
          <p:nvPr/>
        </p:nvSpPr>
        <p:spPr bwMode="auto">
          <a:xfrm>
            <a:off x="2614768" y="6478641"/>
            <a:ext cx="4147406" cy="300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 Based on the no. of articles on a category page </a:t>
            </a:r>
          </a:p>
        </p:txBody>
      </p:sp>
      <p:sp>
        <p:nvSpPr>
          <p:cNvPr id="172" name="Textfeld 84">
            <a:extLst>
              <a:ext uri="{FF2B5EF4-FFF2-40B4-BE49-F238E27FC236}">
                <a16:creationId xmlns:a16="http://schemas.microsoft.com/office/drawing/2014/main" id="{87C05E10-4120-4DA7-9836-603F50904BDF}"/>
              </a:ext>
            </a:extLst>
          </p:cNvPr>
          <p:cNvSpPr txBox="1"/>
          <p:nvPr/>
        </p:nvSpPr>
        <p:spPr bwMode="white">
          <a:xfrm>
            <a:off x="1159991" y="3674538"/>
            <a:ext cx="711828" cy="25853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  <a:latin typeface="Calibri"/>
              </a:rPr>
              <a:t>(To Be)</a:t>
            </a:r>
          </a:p>
        </p:txBody>
      </p:sp>
      <p:sp>
        <p:nvSpPr>
          <p:cNvPr id="173" name="Rectangle 27">
            <a:extLst>
              <a:ext uri="{FF2B5EF4-FFF2-40B4-BE49-F238E27FC236}">
                <a16:creationId xmlns:a16="http://schemas.microsoft.com/office/drawing/2014/main" id="{EFE751B3-DF6C-464B-B649-1E0A7DAEFDE7}"/>
              </a:ext>
            </a:extLst>
          </p:cNvPr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272692" y="1477147"/>
            <a:ext cx="2443303" cy="61991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spcBef>
                <a:spcPts val="600"/>
              </a:spcBef>
              <a:buClr>
                <a:schemeClr val="tx2"/>
              </a:buClr>
              <a:buNone/>
              <a:defRPr/>
            </a:pPr>
            <a:r>
              <a:rPr lang="en-GB" sz="1400" b="1" dirty="0">
                <a:solidFill>
                  <a:schemeClr val="tx2"/>
                </a:solidFill>
              </a:rPr>
              <a:t>Content will have to be sourced from diverse sources</a:t>
            </a:r>
            <a:endParaRPr lang="en-GB" sz="1400" b="1" dirty="0"/>
          </a:p>
        </p:txBody>
      </p:sp>
      <p:sp>
        <p:nvSpPr>
          <p:cNvPr id="174" name="Rectangle 27">
            <a:extLst>
              <a:ext uri="{FF2B5EF4-FFF2-40B4-BE49-F238E27FC236}">
                <a16:creationId xmlns:a16="http://schemas.microsoft.com/office/drawing/2014/main" id="{25E89E29-49EF-4E62-BA30-059966CA266D}"/>
              </a:ext>
            </a:extLst>
          </p:cNvPr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3440790" y="1124680"/>
            <a:ext cx="6310550" cy="33340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spcBef>
                <a:spcPts val="600"/>
              </a:spcBef>
              <a:buClr>
                <a:schemeClr val="tx2"/>
              </a:buClr>
              <a:buNone/>
              <a:defRPr/>
            </a:pPr>
            <a:r>
              <a:rPr lang="en-GB" sz="1600" dirty="0">
                <a:solidFill>
                  <a:schemeClr val="accent2"/>
                </a:solidFill>
              </a:rPr>
              <a:t>Times group websites can provide plug-and-play content</a:t>
            </a:r>
          </a:p>
        </p:txBody>
      </p:sp>
    </p:spTree>
    <p:extLst>
      <p:ext uri="{BB962C8B-B14F-4D97-AF65-F5344CB8AC3E}">
        <p14:creationId xmlns:p14="http://schemas.microsoft.com/office/powerpoint/2010/main" val="141912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/>
      <p:bldP spid="4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 6">
            <a:extLst>
              <a:ext uri="{FF2B5EF4-FFF2-40B4-BE49-F238E27FC236}">
                <a16:creationId xmlns:a16="http://schemas.microsoft.com/office/drawing/2014/main" id="{6D846885-59CE-45D2-BCDF-8CBDCDF77AC0}"/>
              </a:ext>
            </a:extLst>
          </p:cNvPr>
          <p:cNvSpPr>
            <a:spLocks/>
          </p:cNvSpPr>
          <p:nvPr/>
        </p:nvSpPr>
        <p:spPr bwMode="gray">
          <a:xfrm>
            <a:off x="1329166" y="1498956"/>
            <a:ext cx="1164187" cy="464975"/>
          </a:xfrm>
          <a:custGeom>
            <a:avLst/>
            <a:gdLst>
              <a:gd name="T0" fmla="*/ 0 w 2220"/>
              <a:gd name="T1" fmla="*/ 886 h 886"/>
              <a:gd name="T2" fmla="*/ 2220 w 2220"/>
              <a:gd name="T3" fmla="*/ 886 h 886"/>
              <a:gd name="T4" fmla="*/ 2220 w 2220"/>
              <a:gd name="T5" fmla="*/ 0 h 886"/>
              <a:gd name="T6" fmla="*/ 868 w 2220"/>
              <a:gd name="T7" fmla="*/ 0 h 886"/>
              <a:gd name="T8" fmla="*/ 0 w 2220"/>
              <a:gd name="T9" fmla="*/ 886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20" h="886">
                <a:moveTo>
                  <a:pt x="0" y="886"/>
                </a:moveTo>
                <a:cubicBezTo>
                  <a:pt x="2220" y="886"/>
                  <a:pt x="2220" y="886"/>
                  <a:pt x="2220" y="886"/>
                </a:cubicBezTo>
                <a:cubicBezTo>
                  <a:pt x="2220" y="0"/>
                  <a:pt x="2220" y="0"/>
                  <a:pt x="2220" y="0"/>
                </a:cubicBezTo>
                <a:cubicBezTo>
                  <a:pt x="2220" y="0"/>
                  <a:pt x="1261" y="0"/>
                  <a:pt x="868" y="0"/>
                </a:cubicBezTo>
                <a:cubicBezTo>
                  <a:pt x="475" y="0"/>
                  <a:pt x="0" y="886"/>
                  <a:pt x="0" y="886"/>
                </a:cubicBezTo>
                <a:close/>
              </a:path>
            </a:pathLst>
          </a:custGeom>
          <a:solidFill>
            <a:schemeClr val="tx2">
              <a:alpha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Freeform 6">
            <a:extLst>
              <a:ext uri="{FF2B5EF4-FFF2-40B4-BE49-F238E27FC236}">
                <a16:creationId xmlns:a16="http://schemas.microsoft.com/office/drawing/2014/main" id="{4EC7329D-7938-438D-8FCD-006DB139BB4C}"/>
              </a:ext>
            </a:extLst>
          </p:cNvPr>
          <p:cNvSpPr>
            <a:spLocks/>
          </p:cNvSpPr>
          <p:nvPr/>
        </p:nvSpPr>
        <p:spPr bwMode="gray">
          <a:xfrm flipH="1">
            <a:off x="7205655" y="1491599"/>
            <a:ext cx="1157527" cy="462316"/>
          </a:xfrm>
          <a:custGeom>
            <a:avLst/>
            <a:gdLst>
              <a:gd name="T0" fmla="*/ 0 w 2220"/>
              <a:gd name="T1" fmla="*/ 886 h 886"/>
              <a:gd name="T2" fmla="*/ 2220 w 2220"/>
              <a:gd name="T3" fmla="*/ 886 h 886"/>
              <a:gd name="T4" fmla="*/ 2220 w 2220"/>
              <a:gd name="T5" fmla="*/ 0 h 886"/>
              <a:gd name="T6" fmla="*/ 868 w 2220"/>
              <a:gd name="T7" fmla="*/ 0 h 886"/>
              <a:gd name="T8" fmla="*/ 0 w 2220"/>
              <a:gd name="T9" fmla="*/ 886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20" h="886">
                <a:moveTo>
                  <a:pt x="0" y="886"/>
                </a:moveTo>
                <a:cubicBezTo>
                  <a:pt x="2220" y="886"/>
                  <a:pt x="2220" y="886"/>
                  <a:pt x="2220" y="886"/>
                </a:cubicBezTo>
                <a:cubicBezTo>
                  <a:pt x="2220" y="0"/>
                  <a:pt x="2220" y="0"/>
                  <a:pt x="2220" y="0"/>
                </a:cubicBezTo>
                <a:cubicBezTo>
                  <a:pt x="2220" y="0"/>
                  <a:pt x="1261" y="0"/>
                  <a:pt x="868" y="0"/>
                </a:cubicBezTo>
                <a:cubicBezTo>
                  <a:pt x="475" y="0"/>
                  <a:pt x="0" y="886"/>
                  <a:pt x="0" y="886"/>
                </a:cubicBezTo>
                <a:close/>
              </a:path>
            </a:pathLst>
          </a:custGeom>
          <a:solidFill>
            <a:schemeClr val="accent6">
              <a:lumMod val="75000"/>
              <a:alpha val="6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FFFFFF"/>
                </a:solidFill>
              </a:rPr>
              <a:t>We have identified multiple use cases for integrating </a:t>
            </a:r>
            <a:r>
              <a:rPr lang="en-US" sz="2400" b="1" dirty="0">
                <a:solidFill>
                  <a:srgbClr val="FFFFFF"/>
                </a:solidFill>
              </a:rPr>
              <a:t>Times Points </a:t>
            </a:r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7 Capgemini. All rights reserved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CE626-3159-4274-8158-4292551456C4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7" name="Rechteck 51">
            <a:extLst>
              <a:ext uri="{FF2B5EF4-FFF2-40B4-BE49-F238E27FC236}">
                <a16:creationId xmlns:a16="http://schemas.microsoft.com/office/drawing/2014/main" id="{10388B6B-4867-4A1C-ADB6-C32381A1710F}"/>
              </a:ext>
            </a:extLst>
          </p:cNvPr>
          <p:cNvSpPr/>
          <p:nvPr/>
        </p:nvSpPr>
        <p:spPr bwMode="gray">
          <a:xfrm>
            <a:off x="5051616" y="1871285"/>
            <a:ext cx="4631973" cy="2106213"/>
          </a:xfrm>
          <a:prstGeom prst="rect">
            <a:avLst/>
          </a:prstGeom>
          <a:solidFill>
            <a:schemeClr val="bg1"/>
          </a:solidFill>
        </p:spPr>
        <p:txBody>
          <a:bodyPr wrap="square" anchor="t">
            <a:noAutofit/>
          </a:bodyPr>
          <a:lstStyle/>
          <a:p>
            <a:pPr marL="9144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96CC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  <a:p>
            <a:pPr marL="9144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lang="en-GB" sz="1600" b="1" dirty="0">
              <a:solidFill>
                <a:srgbClr val="0096CC">
                  <a:lumMod val="50000"/>
                </a:srgbClr>
              </a:solidFill>
              <a:latin typeface="Calibri"/>
            </a:endParaRPr>
          </a:p>
          <a:p>
            <a:pPr marL="9144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96CC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Ways To Redeem Times Points </a:t>
            </a:r>
          </a:p>
          <a:p>
            <a:pPr marL="265176" marR="0" lvl="0" indent="-173736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Buying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products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online</a:t>
            </a:r>
          </a:p>
          <a:p>
            <a:pPr marL="265176" marR="0" lvl="0" indent="-173736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Buying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remium content</a:t>
            </a:r>
          </a:p>
          <a:p>
            <a:pPr marL="265176" marR="0" lvl="0" indent="-173736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Unlocking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new stag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of a game</a:t>
            </a:r>
          </a:p>
          <a:p>
            <a:pPr marL="265176" marR="0" lvl="0" indent="-173736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Elevating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membershi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band</a:t>
            </a:r>
          </a:p>
          <a:p>
            <a:pPr marL="182880" marR="0" lvl="0" indent="-18288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6CC">
                  <a:lumMod val="50000"/>
                </a:srgbClr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96CC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pic>
        <p:nvPicPr>
          <p:cNvPr id="30" name="Picture 9" descr="C:\Users\michael.w\Desktop\schatten.png">
            <a:extLst>
              <a:ext uri="{FF2B5EF4-FFF2-40B4-BE49-F238E27FC236}">
                <a16:creationId xmlns:a16="http://schemas.microsoft.com/office/drawing/2014/main" id="{B43F2CFB-9927-452D-A595-3ACFF3DC2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>
            <a:off x="5226154" y="1759811"/>
            <a:ext cx="3931920" cy="92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Freeform 7">
            <a:extLst>
              <a:ext uri="{FF2B5EF4-FFF2-40B4-BE49-F238E27FC236}">
                <a16:creationId xmlns:a16="http://schemas.microsoft.com/office/drawing/2014/main" id="{A6BABA39-1577-4CE2-8BA4-547944A87F33}"/>
              </a:ext>
            </a:extLst>
          </p:cNvPr>
          <p:cNvSpPr>
            <a:spLocks/>
          </p:cNvSpPr>
          <p:nvPr/>
        </p:nvSpPr>
        <p:spPr bwMode="gray">
          <a:xfrm flipH="1">
            <a:off x="6077182" y="1491009"/>
            <a:ext cx="1797081" cy="999296"/>
          </a:xfrm>
          <a:custGeom>
            <a:avLst/>
            <a:gdLst/>
            <a:ahLst/>
            <a:cxnLst/>
            <a:rect l="l" t="t" r="r" b="b"/>
            <a:pathLst>
              <a:path w="3426210" h="2051441">
                <a:moveTo>
                  <a:pt x="0" y="0"/>
                </a:moveTo>
                <a:cubicBezTo>
                  <a:pt x="0" y="0"/>
                  <a:pt x="2505335" y="0"/>
                  <a:pt x="2535818" y="0"/>
                </a:cubicBezTo>
                <a:cubicBezTo>
                  <a:pt x="2587259" y="0"/>
                  <a:pt x="2633936" y="9536"/>
                  <a:pt x="2666324" y="43864"/>
                </a:cubicBezTo>
                <a:cubicBezTo>
                  <a:pt x="2697224" y="75679"/>
                  <a:pt x="3013674" y="390880"/>
                  <a:pt x="3059853" y="436872"/>
                </a:cubicBezTo>
                <a:cubicBezTo>
                  <a:pt x="3104225" y="392476"/>
                  <a:pt x="3152144" y="344532"/>
                  <a:pt x="3203893" y="292755"/>
                </a:cubicBezTo>
                <a:cubicBezTo>
                  <a:pt x="3241041" y="255588"/>
                  <a:pt x="3276283" y="267977"/>
                  <a:pt x="3281046" y="321345"/>
                </a:cubicBezTo>
                <a:cubicBezTo>
                  <a:pt x="3281046" y="321345"/>
                  <a:pt x="3281046" y="321345"/>
                  <a:pt x="3344863" y="1045629"/>
                </a:cubicBezTo>
                <a:cubicBezTo>
                  <a:pt x="3349626" y="1098044"/>
                  <a:pt x="3357246" y="1185720"/>
                  <a:pt x="3362008" y="1239089"/>
                </a:cubicBezTo>
                <a:cubicBezTo>
                  <a:pt x="3362008" y="1239089"/>
                  <a:pt x="3362008" y="1239089"/>
                  <a:pt x="3425826" y="1963372"/>
                </a:cubicBezTo>
                <a:cubicBezTo>
                  <a:pt x="3430588" y="2016740"/>
                  <a:pt x="3390583" y="2055813"/>
                  <a:pt x="3337243" y="2051048"/>
                </a:cubicBezTo>
                <a:cubicBezTo>
                  <a:pt x="3337243" y="2051048"/>
                  <a:pt x="3337243" y="2051048"/>
                  <a:pt x="2614296" y="1987197"/>
                </a:cubicBezTo>
                <a:cubicBezTo>
                  <a:pt x="2560956" y="1982432"/>
                  <a:pt x="2473326" y="1974808"/>
                  <a:pt x="2419986" y="1970043"/>
                </a:cubicBezTo>
                <a:lnTo>
                  <a:pt x="1697038" y="1906191"/>
                </a:lnTo>
                <a:cubicBezTo>
                  <a:pt x="1643698" y="1901426"/>
                  <a:pt x="1630363" y="1866165"/>
                  <a:pt x="1668463" y="1828998"/>
                </a:cubicBezTo>
                <a:cubicBezTo>
                  <a:pt x="1668463" y="1828998"/>
                  <a:pt x="1668463" y="1828998"/>
                  <a:pt x="1812613" y="1684772"/>
                </a:cubicBezTo>
                <a:cubicBezTo>
                  <a:pt x="1710542" y="1582405"/>
                  <a:pt x="317479" y="185328"/>
                  <a:pt x="274348" y="143990"/>
                </a:cubicBezTo>
                <a:cubicBezTo>
                  <a:pt x="132434" y="11464"/>
                  <a:pt x="43" y="4"/>
                  <a:pt x="0" y="0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hteck 40">
            <a:extLst>
              <a:ext uri="{FF2B5EF4-FFF2-40B4-BE49-F238E27FC236}">
                <a16:creationId xmlns:a16="http://schemas.microsoft.com/office/drawing/2014/main" id="{F8466168-CFC3-4311-866E-379CB281C3A5}"/>
              </a:ext>
            </a:extLst>
          </p:cNvPr>
          <p:cNvSpPr/>
          <p:nvPr/>
        </p:nvSpPr>
        <p:spPr bwMode="gray">
          <a:xfrm>
            <a:off x="222410" y="1871285"/>
            <a:ext cx="4631972" cy="2106213"/>
          </a:xfrm>
          <a:prstGeom prst="rect">
            <a:avLst/>
          </a:prstGeom>
          <a:solidFill>
            <a:schemeClr val="bg1"/>
          </a:solidFill>
        </p:spPr>
        <p:txBody>
          <a:bodyPr wrap="square" anchor="t">
            <a:noAutofit/>
          </a:bodyPr>
          <a:lstStyle/>
          <a:p>
            <a:pPr marL="9144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6A1A41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  <a:p>
            <a:pPr marL="9144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lang="en-GB" sz="1600" b="1" dirty="0">
              <a:solidFill>
                <a:srgbClr val="6A1A41"/>
              </a:solidFill>
              <a:latin typeface="Calibri"/>
            </a:endParaRPr>
          </a:p>
          <a:p>
            <a:pPr marL="9144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6A1A41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Ways To Earn Times Points </a:t>
            </a:r>
          </a:p>
          <a:p>
            <a:pPr marL="265176" marR="0" lvl="0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Read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content</a:t>
            </a:r>
          </a:p>
          <a:p>
            <a:pPr marL="265176" marR="0" lvl="0" indent="-1714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Creat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content</a:t>
            </a:r>
          </a:p>
          <a:p>
            <a:pPr marL="265176" marR="0" lvl="0" indent="-1714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har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content</a:t>
            </a:r>
          </a:p>
          <a:p>
            <a:pPr marL="265176" lvl="0" indent="-171450"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20000"/>
              <a:buFont typeface="Wingdings" panose="05000000000000000000" pitchFamily="2" charset="2"/>
              <a:buChar char="ü"/>
              <a:defRPr/>
            </a:pPr>
            <a:r>
              <a:rPr lang="en-US" sz="1400" b="1" dirty="0">
                <a:solidFill>
                  <a:srgbClr val="000000"/>
                </a:solidFill>
                <a:latin typeface="Calibri"/>
              </a:rPr>
              <a:t>Participating</a:t>
            </a:r>
            <a:r>
              <a:rPr lang="en-US" sz="1400" dirty="0">
                <a:solidFill>
                  <a:srgbClr val="000000"/>
                </a:solidFill>
                <a:latin typeface="Calibri"/>
              </a:rPr>
              <a:t> in activiti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pic>
        <p:nvPicPr>
          <p:cNvPr id="39" name="Picture 9" descr="C:\Users\michael.w\Desktop\schatten.png">
            <a:extLst>
              <a:ext uri="{FF2B5EF4-FFF2-40B4-BE49-F238E27FC236}">
                <a16:creationId xmlns:a16="http://schemas.microsoft.com/office/drawing/2014/main" id="{8A8CA7A4-FEE5-4045-A109-0072480BC7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>
            <a:off x="679407" y="1759811"/>
            <a:ext cx="3931920" cy="92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Freeform 7">
            <a:extLst>
              <a:ext uri="{FF2B5EF4-FFF2-40B4-BE49-F238E27FC236}">
                <a16:creationId xmlns:a16="http://schemas.microsoft.com/office/drawing/2014/main" id="{3F66C2BC-75B2-4F62-BA86-28030171AA31}"/>
              </a:ext>
            </a:extLst>
          </p:cNvPr>
          <p:cNvSpPr>
            <a:spLocks/>
          </p:cNvSpPr>
          <p:nvPr/>
        </p:nvSpPr>
        <p:spPr bwMode="gray">
          <a:xfrm>
            <a:off x="1803258" y="1491010"/>
            <a:ext cx="1811908" cy="1005045"/>
          </a:xfrm>
          <a:custGeom>
            <a:avLst/>
            <a:gdLst/>
            <a:ahLst/>
            <a:cxnLst/>
            <a:rect l="l" t="t" r="r" b="b"/>
            <a:pathLst>
              <a:path w="3426210" h="2051441">
                <a:moveTo>
                  <a:pt x="0" y="0"/>
                </a:moveTo>
                <a:cubicBezTo>
                  <a:pt x="0" y="0"/>
                  <a:pt x="2505335" y="0"/>
                  <a:pt x="2535818" y="0"/>
                </a:cubicBezTo>
                <a:cubicBezTo>
                  <a:pt x="2587259" y="0"/>
                  <a:pt x="2633936" y="9536"/>
                  <a:pt x="2666324" y="43864"/>
                </a:cubicBezTo>
                <a:cubicBezTo>
                  <a:pt x="2697224" y="75679"/>
                  <a:pt x="3013674" y="390880"/>
                  <a:pt x="3059853" y="436872"/>
                </a:cubicBezTo>
                <a:cubicBezTo>
                  <a:pt x="3104225" y="392476"/>
                  <a:pt x="3152144" y="344532"/>
                  <a:pt x="3203893" y="292755"/>
                </a:cubicBezTo>
                <a:cubicBezTo>
                  <a:pt x="3241041" y="255588"/>
                  <a:pt x="3276283" y="267977"/>
                  <a:pt x="3281046" y="321345"/>
                </a:cubicBezTo>
                <a:cubicBezTo>
                  <a:pt x="3281046" y="321345"/>
                  <a:pt x="3281046" y="321345"/>
                  <a:pt x="3344863" y="1045629"/>
                </a:cubicBezTo>
                <a:cubicBezTo>
                  <a:pt x="3349626" y="1098044"/>
                  <a:pt x="3357246" y="1185720"/>
                  <a:pt x="3362008" y="1239089"/>
                </a:cubicBezTo>
                <a:cubicBezTo>
                  <a:pt x="3362008" y="1239089"/>
                  <a:pt x="3362008" y="1239089"/>
                  <a:pt x="3425826" y="1963372"/>
                </a:cubicBezTo>
                <a:cubicBezTo>
                  <a:pt x="3430588" y="2016740"/>
                  <a:pt x="3390583" y="2055813"/>
                  <a:pt x="3337243" y="2051048"/>
                </a:cubicBezTo>
                <a:cubicBezTo>
                  <a:pt x="3337243" y="2051048"/>
                  <a:pt x="3337243" y="2051048"/>
                  <a:pt x="2614296" y="1987197"/>
                </a:cubicBezTo>
                <a:cubicBezTo>
                  <a:pt x="2560956" y="1982432"/>
                  <a:pt x="2473326" y="1974808"/>
                  <a:pt x="2419986" y="1970043"/>
                </a:cubicBezTo>
                <a:lnTo>
                  <a:pt x="1697038" y="1906191"/>
                </a:lnTo>
                <a:cubicBezTo>
                  <a:pt x="1643698" y="1901426"/>
                  <a:pt x="1630363" y="1866165"/>
                  <a:pt x="1668463" y="1828998"/>
                </a:cubicBezTo>
                <a:cubicBezTo>
                  <a:pt x="1668463" y="1828998"/>
                  <a:pt x="1668463" y="1828998"/>
                  <a:pt x="1812613" y="1684772"/>
                </a:cubicBezTo>
                <a:cubicBezTo>
                  <a:pt x="1710542" y="1582405"/>
                  <a:pt x="317479" y="185328"/>
                  <a:pt x="274348" y="143990"/>
                </a:cubicBezTo>
                <a:cubicBezTo>
                  <a:pt x="132434" y="11464"/>
                  <a:pt x="43" y="4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8" name="Picture 9" descr="C:\Users\michael.w\Desktop\schatten.png">
            <a:extLst>
              <a:ext uri="{FF2B5EF4-FFF2-40B4-BE49-F238E27FC236}">
                <a16:creationId xmlns:a16="http://schemas.microsoft.com/office/drawing/2014/main" id="{501CF30E-3B10-4246-85F2-D56CBC467D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5209527" y="3984226"/>
            <a:ext cx="3931920" cy="92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hteck 40">
            <a:extLst>
              <a:ext uri="{FF2B5EF4-FFF2-40B4-BE49-F238E27FC236}">
                <a16:creationId xmlns:a16="http://schemas.microsoft.com/office/drawing/2014/main" id="{2A7A1D38-529E-498C-803F-3D652A91EFDA}"/>
              </a:ext>
            </a:extLst>
          </p:cNvPr>
          <p:cNvSpPr/>
          <p:nvPr/>
        </p:nvSpPr>
        <p:spPr bwMode="gray">
          <a:xfrm>
            <a:off x="2495035" y="1813882"/>
            <a:ext cx="1135896" cy="50121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91440" marR="0" lvl="0" indent="0" algn="r" defTabSz="801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ARNING</a:t>
            </a:r>
          </a:p>
          <a:p>
            <a:pPr marL="91440" marR="0" lvl="0" indent="0" algn="r" defTabSz="801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WARDS</a:t>
            </a:r>
          </a:p>
        </p:txBody>
      </p:sp>
      <p:sp>
        <p:nvSpPr>
          <p:cNvPr id="50" name="Rechteck 40">
            <a:extLst>
              <a:ext uri="{FF2B5EF4-FFF2-40B4-BE49-F238E27FC236}">
                <a16:creationId xmlns:a16="http://schemas.microsoft.com/office/drawing/2014/main" id="{6D2376F1-EF22-4422-A652-E16151940045}"/>
              </a:ext>
            </a:extLst>
          </p:cNvPr>
          <p:cNvSpPr/>
          <p:nvPr/>
        </p:nvSpPr>
        <p:spPr bwMode="gray">
          <a:xfrm>
            <a:off x="5971022" y="1814791"/>
            <a:ext cx="1382983" cy="50121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91440" marR="0" lvl="0" indent="0" defTabSz="801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DEEMING</a:t>
            </a:r>
          </a:p>
          <a:p>
            <a:pPr marL="91440" marR="0" lvl="0" indent="0" defTabSz="801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WARDS</a:t>
            </a:r>
          </a:p>
        </p:txBody>
      </p:sp>
      <p:sp>
        <p:nvSpPr>
          <p:cNvPr id="56" name="Content Placeholder 5">
            <a:extLst>
              <a:ext uri="{FF2B5EF4-FFF2-40B4-BE49-F238E27FC236}">
                <a16:creationId xmlns:a16="http://schemas.microsoft.com/office/drawing/2014/main" id="{673FDC94-3802-4F08-8598-1EE7E67618D5}"/>
              </a:ext>
            </a:extLst>
          </p:cNvPr>
          <p:cNvSpPr txBox="1">
            <a:spLocks/>
          </p:cNvSpPr>
          <p:nvPr/>
        </p:nvSpPr>
        <p:spPr bwMode="auto">
          <a:xfrm>
            <a:off x="2614768" y="6478641"/>
            <a:ext cx="4138482" cy="276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B1003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* Based on VOC 3 data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9EE5DA-2696-498B-8EEA-7D751E1DDF8F}"/>
              </a:ext>
            </a:extLst>
          </p:cNvPr>
          <p:cNvGrpSpPr/>
          <p:nvPr/>
        </p:nvGrpSpPr>
        <p:grpSpPr>
          <a:xfrm rot="16200000">
            <a:off x="3411021" y="2666663"/>
            <a:ext cx="1806162" cy="594457"/>
            <a:chOff x="784181" y="5019675"/>
            <a:chExt cx="3652978" cy="2667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ADF6807-CA67-4658-924F-290D5A846BEE}"/>
                </a:ext>
              </a:extLst>
            </p:cNvPr>
            <p:cNvSpPr/>
            <p:nvPr/>
          </p:nvSpPr>
          <p:spPr bwMode="auto">
            <a:xfrm>
              <a:off x="784181" y="5019675"/>
              <a:ext cx="3108960" cy="26670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10034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5%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52E7019-5A78-4354-813C-BD04C4E5E339}"/>
                </a:ext>
              </a:extLst>
            </p:cNvPr>
            <p:cNvSpPr/>
            <p:nvPr/>
          </p:nvSpPr>
          <p:spPr bwMode="auto">
            <a:xfrm>
              <a:off x="3888519" y="5019675"/>
              <a:ext cx="548640" cy="2667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B01E9E40-8800-4851-9A5D-52E7E30641B0}"/>
              </a:ext>
            </a:extLst>
          </p:cNvPr>
          <p:cNvSpPr txBox="1">
            <a:spLocks/>
          </p:cNvSpPr>
          <p:nvPr/>
        </p:nvSpPr>
        <p:spPr bwMode="auto">
          <a:xfrm>
            <a:off x="2808964" y="2914727"/>
            <a:ext cx="1135896" cy="106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B1003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j-ea"/>
                <a:cs typeface="Calibri" pitchFamily="34" charset="0"/>
              </a:rPr>
              <a:t>Students said that they would engage more with a website if rewarded for it* </a:t>
            </a:r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89FE56DE-F3BD-43FB-B41A-C26EA69D13B0}"/>
              </a:ext>
            </a:extLst>
          </p:cNvPr>
          <p:cNvSpPr txBox="1">
            <a:spLocks/>
          </p:cNvSpPr>
          <p:nvPr/>
        </p:nvSpPr>
        <p:spPr bwMode="auto">
          <a:xfrm>
            <a:off x="7986945" y="2996940"/>
            <a:ext cx="963757" cy="870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0" bIns="45720" numCol="1" rtlCol="0" anchor="b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B1003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96CC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 pitchFamily="34" charset="0"/>
              </a:rPr>
              <a:t>want to buy product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6CC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 pitchFamily="34" charset="0"/>
              </a:rPr>
              <a:t>us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96CC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6CC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 pitchFamily="34" charset="0"/>
              </a:rPr>
              <a:t>point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96CC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 pitchFamily="34" charset="0"/>
              </a:rPr>
              <a:t>*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C2BF5D6-842E-4E2C-A3A2-72FEA7D5A19D}"/>
              </a:ext>
            </a:extLst>
          </p:cNvPr>
          <p:cNvGrpSpPr/>
          <p:nvPr/>
        </p:nvGrpSpPr>
        <p:grpSpPr>
          <a:xfrm rot="16200000">
            <a:off x="8391911" y="2666712"/>
            <a:ext cx="1806161" cy="594360"/>
            <a:chOff x="5575256" y="4410271"/>
            <a:chExt cx="3289215" cy="26722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CD488D6-5683-4864-974E-2CC4A3DCED70}"/>
                </a:ext>
              </a:extLst>
            </p:cNvPr>
            <p:cNvSpPr/>
            <p:nvPr/>
          </p:nvSpPr>
          <p:spPr bwMode="auto">
            <a:xfrm>
              <a:off x="5575256" y="4410271"/>
              <a:ext cx="1527048" cy="26670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10034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7%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6A950F0-B43F-4EE6-A4F7-4E142ACA8162}"/>
                </a:ext>
              </a:extLst>
            </p:cNvPr>
            <p:cNvSpPr/>
            <p:nvPr/>
          </p:nvSpPr>
          <p:spPr bwMode="auto">
            <a:xfrm>
              <a:off x="8059799" y="4410271"/>
              <a:ext cx="804672" cy="2667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45720" rIns="0"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10034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96CC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%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ADFD328-4079-45B1-B98D-22B5C89B77C8}"/>
                </a:ext>
              </a:extLst>
            </p:cNvPr>
            <p:cNvSpPr/>
            <p:nvPr/>
          </p:nvSpPr>
          <p:spPr bwMode="auto">
            <a:xfrm>
              <a:off x="7100949" y="4410795"/>
              <a:ext cx="960120" cy="26670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45720" rIns="0" rtlCol="0" anchor="b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10034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9%</a:t>
              </a:r>
            </a:p>
          </p:txBody>
        </p:sp>
      </p:grp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BD6B76CE-2AC9-4582-BEB3-A4F4147483FE}"/>
              </a:ext>
            </a:extLst>
          </p:cNvPr>
          <p:cNvSpPr txBox="1">
            <a:spLocks/>
          </p:cNvSpPr>
          <p:nvPr/>
        </p:nvSpPr>
        <p:spPr bwMode="auto">
          <a:xfrm>
            <a:off x="8127164" y="2529709"/>
            <a:ext cx="823539" cy="557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0" bIns="45720" numCol="1" rtlCol="0" anchor="b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B1003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96CC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 pitchFamily="34" charset="0"/>
              </a:rPr>
              <a:t>want premium content* </a:t>
            </a:r>
          </a:p>
        </p:txBody>
      </p:sp>
      <p:sp>
        <p:nvSpPr>
          <p:cNvPr id="34" name="Content Placeholder 5">
            <a:extLst>
              <a:ext uri="{FF2B5EF4-FFF2-40B4-BE49-F238E27FC236}">
                <a16:creationId xmlns:a16="http://schemas.microsoft.com/office/drawing/2014/main" id="{A94DC5A6-2EE3-47AE-B5DD-D4EDD401EFD5}"/>
              </a:ext>
            </a:extLst>
          </p:cNvPr>
          <p:cNvSpPr txBox="1">
            <a:spLocks/>
          </p:cNvSpPr>
          <p:nvPr/>
        </p:nvSpPr>
        <p:spPr bwMode="auto">
          <a:xfrm>
            <a:off x="8127164" y="2060812"/>
            <a:ext cx="821338" cy="468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0" bIns="45720" numCol="1" rtlCol="0" anchor="b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B1003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96CC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 pitchFamily="34" charset="0"/>
              </a:rPr>
              <a:t>want to level up* </a:t>
            </a:r>
          </a:p>
        </p:txBody>
      </p:sp>
      <p:sp>
        <p:nvSpPr>
          <p:cNvPr id="35" name="Content Placeholder 4">
            <a:extLst>
              <a:ext uri="{FF2B5EF4-FFF2-40B4-BE49-F238E27FC236}">
                <a16:creationId xmlns:a16="http://schemas.microsoft.com/office/drawing/2014/main" id="{ADE50813-63ED-4B5E-BE1C-6420619CFEA0}"/>
              </a:ext>
            </a:extLst>
          </p:cNvPr>
          <p:cNvSpPr txBox="1">
            <a:spLocks/>
          </p:cNvSpPr>
          <p:nvPr/>
        </p:nvSpPr>
        <p:spPr bwMode="auto">
          <a:xfrm>
            <a:off x="350837" y="1158590"/>
            <a:ext cx="9210675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B1003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Times Points can be integrated with TOI Student in two area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645D292-FD5B-4501-ACC7-97D019708354}"/>
              </a:ext>
            </a:extLst>
          </p:cNvPr>
          <p:cNvSpPr/>
          <p:nvPr/>
        </p:nvSpPr>
        <p:spPr bwMode="auto">
          <a:xfrm rot="19442606">
            <a:off x="42852" y="1322714"/>
            <a:ext cx="1317448" cy="432059"/>
          </a:xfrm>
          <a:prstGeom prst="rect">
            <a:avLst/>
          </a:prstGeom>
          <a:solidFill>
            <a:schemeClr val="accent3"/>
          </a:solidFill>
          <a:ln w="2857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en-US" sz="2400" b="1" dirty="0">
                <a:solidFill>
                  <a:schemeClr val="accent2"/>
                </a:solidFill>
                <a:cs typeface="+mn-cs"/>
              </a:rPr>
              <a:t>WIP</a:t>
            </a:r>
          </a:p>
        </p:txBody>
      </p:sp>
      <p:sp>
        <p:nvSpPr>
          <p:cNvPr id="43" name="Rounded Rectangle 25">
            <a:extLst>
              <a:ext uri="{FF2B5EF4-FFF2-40B4-BE49-F238E27FC236}">
                <a16:creationId xmlns:a16="http://schemas.microsoft.com/office/drawing/2014/main" id="{BCE02A2F-D4D4-458B-BDED-F48BDD250744}"/>
              </a:ext>
            </a:extLst>
          </p:cNvPr>
          <p:cNvSpPr/>
          <p:nvPr/>
        </p:nvSpPr>
        <p:spPr>
          <a:xfrm>
            <a:off x="1" y="5589300"/>
            <a:ext cx="9906002" cy="685800"/>
          </a:xfrm>
          <a:prstGeom prst="roundRect">
            <a:avLst>
              <a:gd name="adj" fmla="val 0"/>
            </a:avLst>
          </a:prstGeom>
          <a:solidFill>
            <a:schemeClr val="bg2">
              <a:lumMod val="7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B3BC004-212F-4280-A668-B4C749B844D9}"/>
              </a:ext>
            </a:extLst>
          </p:cNvPr>
          <p:cNvSpPr/>
          <p:nvPr/>
        </p:nvSpPr>
        <p:spPr bwMode="auto">
          <a:xfrm>
            <a:off x="522292" y="5589300"/>
            <a:ext cx="1694328" cy="684846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Aft>
                <a:spcPts val="300"/>
              </a:spcAft>
            </a:pPr>
            <a:r>
              <a:rPr lang="en-US" b="1" dirty="0">
                <a:solidFill>
                  <a:srgbClr val="0B71AE"/>
                </a:solidFill>
                <a:cs typeface="+mn-cs"/>
              </a:rPr>
              <a:t>Recommendation</a:t>
            </a:r>
          </a:p>
        </p:txBody>
      </p:sp>
      <p:pic>
        <p:nvPicPr>
          <p:cNvPr id="45" name="Picture 4" descr="Image result for capgemini new logo">
            <a:extLst>
              <a:ext uri="{FF2B5EF4-FFF2-40B4-BE49-F238E27FC236}">
                <a16:creationId xmlns:a16="http://schemas.microsoft.com/office/drawing/2014/main" id="{820C2DB0-CEC7-4F19-80E9-CF77F6C1B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3" y="570441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ounded Rectangle 25">
            <a:extLst>
              <a:ext uri="{FF2B5EF4-FFF2-40B4-BE49-F238E27FC236}">
                <a16:creationId xmlns:a16="http://schemas.microsoft.com/office/drawing/2014/main" id="{F714078F-E8E8-440E-B45C-4F7E8784F132}"/>
              </a:ext>
            </a:extLst>
          </p:cNvPr>
          <p:cNvSpPr/>
          <p:nvPr/>
        </p:nvSpPr>
        <p:spPr>
          <a:xfrm>
            <a:off x="2404078" y="5589300"/>
            <a:ext cx="6979630" cy="684846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b="1" dirty="0">
                <a:latin typeface="+mn-lt"/>
              </a:rPr>
              <a:t>The website should be integrated with Times Points, but </a:t>
            </a:r>
            <a:r>
              <a:rPr lang="en-US" b="1" kern="0" dirty="0">
                <a:latin typeface="Calibri" pitchFamily="34" charset="0"/>
                <a:cs typeface="Calibri" pitchFamily="34" charset="0"/>
              </a:rPr>
              <a:t>the primary reward for online activities should be student recognition </a:t>
            </a:r>
            <a:endParaRPr lang="en-US" b="1" dirty="0">
              <a:latin typeface="+mn-lt"/>
            </a:endParaRPr>
          </a:p>
        </p:txBody>
      </p:sp>
      <p:pic>
        <p:nvPicPr>
          <p:cNvPr id="47" name="Picture 9" descr="C:\Users\michael.w\Desktop\schatten.png">
            <a:extLst>
              <a:ext uri="{FF2B5EF4-FFF2-40B4-BE49-F238E27FC236}">
                <a16:creationId xmlns:a16="http://schemas.microsoft.com/office/drawing/2014/main" id="{E4C71410-C90E-4914-9B06-E610158B2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V="1">
            <a:off x="679406" y="3974701"/>
            <a:ext cx="3931920" cy="8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Rechteck 48">
            <a:extLst>
              <a:ext uri="{FF2B5EF4-FFF2-40B4-BE49-F238E27FC236}">
                <a16:creationId xmlns:a16="http://schemas.microsoft.com/office/drawing/2014/main" id="{F1E1780D-5E7C-4679-9161-3FFAC27D1B76}"/>
              </a:ext>
            </a:extLst>
          </p:cNvPr>
          <p:cNvSpPr/>
          <p:nvPr/>
        </p:nvSpPr>
        <p:spPr bwMode="gray">
          <a:xfrm>
            <a:off x="1380858" y="4499725"/>
            <a:ext cx="3999329" cy="83041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8000" tIns="0" rtlCol="0" anchor="t" anchorCtr="0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1</a:t>
            </a:r>
          </a:p>
        </p:txBody>
      </p:sp>
      <p:sp>
        <p:nvSpPr>
          <p:cNvPr id="57" name="Freeform 6">
            <a:extLst>
              <a:ext uri="{FF2B5EF4-FFF2-40B4-BE49-F238E27FC236}">
                <a16:creationId xmlns:a16="http://schemas.microsoft.com/office/drawing/2014/main" id="{02D29C5B-ADB5-42F6-B81C-18464825387A}"/>
              </a:ext>
            </a:extLst>
          </p:cNvPr>
          <p:cNvSpPr>
            <a:spLocks/>
          </p:cNvSpPr>
          <p:nvPr/>
        </p:nvSpPr>
        <p:spPr bwMode="gray">
          <a:xfrm>
            <a:off x="1380862" y="4497490"/>
            <a:ext cx="682669" cy="514103"/>
          </a:xfrm>
          <a:custGeom>
            <a:avLst/>
            <a:gdLst/>
            <a:ahLst/>
            <a:cxnLst>
              <a:cxn ang="0">
                <a:pos x="234" y="618"/>
              </a:cxn>
              <a:cxn ang="0">
                <a:pos x="143" y="452"/>
              </a:cxn>
              <a:cxn ang="0">
                <a:pos x="0" y="353"/>
              </a:cxn>
              <a:cxn ang="0">
                <a:pos x="932" y="0"/>
              </a:cxn>
              <a:cxn ang="0">
                <a:pos x="932" y="0"/>
              </a:cxn>
              <a:cxn ang="0">
                <a:pos x="234" y="618"/>
              </a:cxn>
            </a:cxnLst>
            <a:rect l="0" t="0" r="r" b="b"/>
            <a:pathLst>
              <a:path w="932" h="618">
                <a:moveTo>
                  <a:pt x="234" y="618"/>
                </a:moveTo>
                <a:cubicBezTo>
                  <a:pt x="234" y="618"/>
                  <a:pt x="215" y="524"/>
                  <a:pt x="143" y="452"/>
                </a:cubicBezTo>
                <a:cubicBezTo>
                  <a:pt x="71" y="380"/>
                  <a:pt x="0" y="353"/>
                  <a:pt x="0" y="353"/>
                </a:cubicBezTo>
                <a:cubicBezTo>
                  <a:pt x="932" y="0"/>
                  <a:pt x="932" y="0"/>
                  <a:pt x="932" y="0"/>
                </a:cubicBezTo>
                <a:cubicBezTo>
                  <a:pt x="932" y="0"/>
                  <a:pt x="932" y="0"/>
                  <a:pt x="932" y="0"/>
                </a:cubicBezTo>
                <a:lnTo>
                  <a:pt x="234" y="618"/>
                </a:lnTo>
                <a:close/>
              </a:path>
            </a:pathLst>
          </a:custGeom>
          <a:gradFill>
            <a:gsLst>
              <a:gs pos="33000">
                <a:srgbClr val="A50532">
                  <a:lumMod val="75000"/>
                </a:srgbClr>
              </a:gs>
              <a:gs pos="45000">
                <a:srgbClr val="A50532">
                  <a:alpha val="83000"/>
                </a:srgbClr>
              </a:gs>
              <a:gs pos="76000">
                <a:srgbClr val="A50532">
                  <a:lumMod val="75000"/>
                </a:srgbClr>
              </a:gs>
            </a:gsLst>
            <a:lin ang="4200000" scaled="0"/>
          </a:gradFill>
          <a:ln w="9525">
            <a:noFill/>
            <a:round/>
            <a:headEnd/>
            <a:tailEnd/>
          </a:ln>
          <a:effectLst>
            <a:outerShdw blurRad="63500" dist="12700" dir="42000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9645BF23-AF4E-48A5-931E-A7628D727342}"/>
              </a:ext>
            </a:extLst>
          </p:cNvPr>
          <p:cNvSpPr/>
          <p:nvPr/>
        </p:nvSpPr>
        <p:spPr bwMode="auto">
          <a:xfrm rot="5400000">
            <a:off x="1575891" y="4302711"/>
            <a:ext cx="292608" cy="682669"/>
          </a:xfrm>
          <a:prstGeom prst="rtTriangl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 fontAlgn="auto"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  <a:cs typeface="+mn-cs"/>
              </a:rPr>
              <a:t>A</a:t>
            </a:r>
          </a:p>
        </p:txBody>
      </p:sp>
      <p:sp>
        <p:nvSpPr>
          <p:cNvPr id="63" name="Rechteck 48">
            <a:extLst>
              <a:ext uri="{FF2B5EF4-FFF2-40B4-BE49-F238E27FC236}">
                <a16:creationId xmlns:a16="http://schemas.microsoft.com/office/drawing/2014/main" id="{ECF66E14-D1D0-4403-B7A5-E8D9294ABB5C}"/>
              </a:ext>
            </a:extLst>
          </p:cNvPr>
          <p:cNvSpPr/>
          <p:nvPr/>
        </p:nvSpPr>
        <p:spPr bwMode="gray">
          <a:xfrm>
            <a:off x="5559666" y="4499725"/>
            <a:ext cx="3999329" cy="83040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8000" tIns="0" rtlCol="0" anchor="ctr" anchorCtr="0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400" kern="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Calibri"/>
              </a:rPr>
              <a:t>Cost of integration with Times Points - </a:t>
            </a: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  <a:latin typeface="Calibri"/>
              </a:rPr>
              <a:t>WIP</a:t>
            </a:r>
          </a:p>
        </p:txBody>
      </p:sp>
      <p:sp>
        <p:nvSpPr>
          <p:cNvPr id="66" name="Right Triangle 65">
            <a:extLst>
              <a:ext uri="{FF2B5EF4-FFF2-40B4-BE49-F238E27FC236}">
                <a16:creationId xmlns:a16="http://schemas.microsoft.com/office/drawing/2014/main" id="{47044274-88C8-4DD0-A2C2-3E3364C662BA}"/>
              </a:ext>
            </a:extLst>
          </p:cNvPr>
          <p:cNvSpPr/>
          <p:nvPr/>
        </p:nvSpPr>
        <p:spPr bwMode="auto">
          <a:xfrm rot="5400000">
            <a:off x="5754697" y="4304299"/>
            <a:ext cx="292608" cy="682669"/>
          </a:xfrm>
          <a:prstGeom prst="rtTriangle">
            <a:avLst/>
          </a:prstGeom>
          <a:solidFill>
            <a:schemeClr val="bg1">
              <a:lumMod val="6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lvl="0" algn="ctr" fontAlgn="auto"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B</a:t>
            </a:r>
          </a:p>
        </p:txBody>
      </p:sp>
      <p:sp>
        <p:nvSpPr>
          <p:cNvPr id="67" name="Freeform 6">
            <a:extLst>
              <a:ext uri="{FF2B5EF4-FFF2-40B4-BE49-F238E27FC236}">
                <a16:creationId xmlns:a16="http://schemas.microsoft.com/office/drawing/2014/main" id="{32FB6FFD-01F8-4248-8229-8ABECE4EB007}"/>
              </a:ext>
            </a:extLst>
          </p:cNvPr>
          <p:cNvSpPr>
            <a:spLocks/>
          </p:cNvSpPr>
          <p:nvPr/>
        </p:nvSpPr>
        <p:spPr bwMode="gray">
          <a:xfrm>
            <a:off x="5557439" y="4498136"/>
            <a:ext cx="684897" cy="512064"/>
          </a:xfrm>
          <a:custGeom>
            <a:avLst/>
            <a:gdLst/>
            <a:ahLst/>
            <a:cxnLst>
              <a:cxn ang="0">
                <a:pos x="234" y="618"/>
              </a:cxn>
              <a:cxn ang="0">
                <a:pos x="143" y="452"/>
              </a:cxn>
              <a:cxn ang="0">
                <a:pos x="0" y="353"/>
              </a:cxn>
              <a:cxn ang="0">
                <a:pos x="932" y="0"/>
              </a:cxn>
              <a:cxn ang="0">
                <a:pos x="932" y="0"/>
              </a:cxn>
              <a:cxn ang="0">
                <a:pos x="234" y="618"/>
              </a:cxn>
            </a:cxnLst>
            <a:rect l="0" t="0" r="r" b="b"/>
            <a:pathLst>
              <a:path w="932" h="618">
                <a:moveTo>
                  <a:pt x="234" y="618"/>
                </a:moveTo>
                <a:cubicBezTo>
                  <a:pt x="234" y="618"/>
                  <a:pt x="215" y="524"/>
                  <a:pt x="143" y="452"/>
                </a:cubicBezTo>
                <a:cubicBezTo>
                  <a:pt x="71" y="380"/>
                  <a:pt x="0" y="353"/>
                  <a:pt x="0" y="353"/>
                </a:cubicBezTo>
                <a:cubicBezTo>
                  <a:pt x="932" y="0"/>
                  <a:pt x="932" y="0"/>
                  <a:pt x="932" y="0"/>
                </a:cubicBezTo>
                <a:cubicBezTo>
                  <a:pt x="932" y="0"/>
                  <a:pt x="932" y="0"/>
                  <a:pt x="932" y="0"/>
                </a:cubicBezTo>
                <a:lnTo>
                  <a:pt x="234" y="618"/>
                </a:lnTo>
                <a:close/>
              </a:path>
            </a:pathLst>
          </a:custGeom>
          <a:gradFill>
            <a:gsLst>
              <a:gs pos="33000">
                <a:schemeClr val="accent5">
                  <a:lumMod val="75000"/>
                </a:schemeClr>
              </a:gs>
              <a:gs pos="45000">
                <a:schemeClr val="accent5"/>
              </a:gs>
              <a:gs pos="76000">
                <a:schemeClr val="accent5">
                  <a:lumMod val="75000"/>
                </a:schemeClr>
              </a:gs>
            </a:gsLst>
            <a:lin ang="4200000" scaled="0"/>
          </a:gradFill>
          <a:ln w="9525">
            <a:noFill/>
            <a:round/>
            <a:headEnd/>
            <a:tailEnd/>
          </a:ln>
          <a:effectLst>
            <a:outerShdw blurRad="63500" dist="12700" dir="42000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kern="0" dirty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8253EB-4586-4065-B516-C37612EB2F69}"/>
              </a:ext>
            </a:extLst>
          </p:cNvPr>
          <p:cNvSpPr/>
          <p:nvPr/>
        </p:nvSpPr>
        <p:spPr>
          <a:xfrm>
            <a:off x="1883682" y="4497490"/>
            <a:ext cx="3495827" cy="83040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schemeClr val="accent2"/>
                </a:solidFill>
                <a:latin typeface="Calibri"/>
              </a:rPr>
              <a:t>Only 10% </a:t>
            </a:r>
            <a:r>
              <a:rPr lang="en-GB" sz="1400" kern="0" dirty="0">
                <a:solidFill>
                  <a:schemeClr val="accent2"/>
                </a:solidFill>
                <a:latin typeface="Calibri"/>
              </a:rPr>
              <a:t>students</a:t>
            </a:r>
            <a:r>
              <a:rPr lang="en-GB" sz="1400" b="1" kern="0" dirty="0">
                <a:solidFill>
                  <a:schemeClr val="accent2"/>
                </a:solidFill>
                <a:latin typeface="Calibri"/>
              </a:rPr>
              <a:t> </a:t>
            </a:r>
            <a:r>
              <a:rPr lang="en-GB" sz="1400" kern="0" dirty="0">
                <a:solidFill>
                  <a:schemeClr val="accent2"/>
                </a:solidFill>
                <a:latin typeface="Calibri"/>
              </a:rPr>
              <a:t>want rewards in the form of points – the majority prefers recognition*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FA8904D-DE61-439B-B27B-CD01BB30FB19}"/>
              </a:ext>
            </a:extLst>
          </p:cNvPr>
          <p:cNvGrpSpPr/>
          <p:nvPr/>
        </p:nvGrpSpPr>
        <p:grpSpPr>
          <a:xfrm>
            <a:off x="344360" y="4526785"/>
            <a:ext cx="764505" cy="856110"/>
            <a:chOff x="443975" y="4589170"/>
            <a:chExt cx="764505" cy="856110"/>
          </a:xfrm>
        </p:grpSpPr>
        <p:sp>
          <p:nvSpPr>
            <p:cNvPr id="70" name="Freeform 722">
              <a:extLst>
                <a:ext uri="{FF2B5EF4-FFF2-40B4-BE49-F238E27FC236}">
                  <a16:creationId xmlns:a16="http://schemas.microsoft.com/office/drawing/2014/main" id="{FB6BE3C7-C4CE-4F5E-8929-E46E45C14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88" y="4589170"/>
              <a:ext cx="640080" cy="640080"/>
            </a:xfrm>
            <a:custGeom>
              <a:avLst/>
              <a:gdLst/>
              <a:ahLst/>
              <a:cxnLst>
                <a:cxn ang="0">
                  <a:pos x="44" y="112"/>
                </a:cxn>
                <a:cxn ang="0">
                  <a:pos x="36" y="144"/>
                </a:cxn>
                <a:cxn ang="0">
                  <a:pos x="93" y="103"/>
                </a:cxn>
                <a:cxn ang="0">
                  <a:pos x="113" y="57"/>
                </a:cxn>
                <a:cxn ang="0">
                  <a:pos x="56" y="0"/>
                </a:cxn>
                <a:cxn ang="0">
                  <a:pos x="0" y="57"/>
                </a:cxn>
                <a:cxn ang="0">
                  <a:pos x="26" y="105"/>
                </a:cxn>
              </a:cxnLst>
              <a:rect l="0" t="0" r="r" b="b"/>
              <a:pathLst>
                <a:path w="113" h="144">
                  <a:moveTo>
                    <a:pt x="44" y="112"/>
                  </a:moveTo>
                  <a:cubicBezTo>
                    <a:pt x="36" y="144"/>
                    <a:pt x="36" y="144"/>
                    <a:pt x="36" y="144"/>
                  </a:cubicBezTo>
                  <a:cubicBezTo>
                    <a:pt x="36" y="144"/>
                    <a:pt x="80" y="116"/>
                    <a:pt x="93" y="103"/>
                  </a:cubicBezTo>
                  <a:cubicBezTo>
                    <a:pt x="102" y="94"/>
                    <a:pt x="113" y="81"/>
                    <a:pt x="113" y="57"/>
                  </a:cubicBezTo>
                  <a:cubicBezTo>
                    <a:pt x="113" y="25"/>
                    <a:pt x="88" y="0"/>
                    <a:pt x="56" y="0"/>
                  </a:cubicBezTo>
                  <a:cubicBezTo>
                    <a:pt x="25" y="0"/>
                    <a:pt x="0" y="25"/>
                    <a:pt x="0" y="57"/>
                  </a:cubicBezTo>
                  <a:cubicBezTo>
                    <a:pt x="0" y="77"/>
                    <a:pt x="10" y="95"/>
                    <a:pt x="26" y="105"/>
                  </a:cubicBezTo>
                </a:path>
              </a:pathLst>
            </a:custGeom>
            <a:solidFill>
              <a:schemeClr val="bg1"/>
            </a:solidFill>
            <a:ln w="28575" cap="rnd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85000"/>
                </a:lnSpc>
              </a:pPr>
              <a:r>
                <a:rPr lang="en-GB" sz="4400" b="1" dirty="0">
                  <a:solidFill>
                    <a:schemeClr val="accent2"/>
                  </a:solidFill>
                  <a:latin typeface="Garamond" panose="02020404030301010803" pitchFamily="18" charset="0"/>
                  <a:cs typeface="Arial" panose="020B0604020202020204" pitchFamily="34" charset="0"/>
                </a:rPr>
                <a:t>!</a:t>
              </a:r>
            </a:p>
          </p:txBody>
        </p:sp>
        <p:sp>
          <p:nvSpPr>
            <p:cNvPr id="71" name="Rectangle 651">
              <a:extLst>
                <a:ext uri="{FF2B5EF4-FFF2-40B4-BE49-F238E27FC236}">
                  <a16:creationId xmlns:a16="http://schemas.microsoft.com/office/drawing/2014/main" id="{6A2EDC4D-D45E-4ED3-A377-D4FF3C02B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975" y="5199059"/>
              <a:ext cx="764505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600" b="1" i="0" u="none" strike="noStrike" cap="none" normalizeH="0" baseline="0" dirty="0">
                  <a:ln>
                    <a:noFill/>
                  </a:ln>
                  <a:solidFill>
                    <a:schemeClr val="accent2"/>
                  </a:solidFill>
                  <a:effectLst/>
                  <a:latin typeface="+mn-lt"/>
                  <a:cs typeface="Arial" pitchFamily="34" charset="0"/>
                </a:rPr>
                <a:t>However</a:t>
              </a:r>
            </a:p>
          </p:txBody>
        </p: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E636CBB-CFD3-4F38-84CB-892327527D4D}"/>
              </a:ext>
            </a:extLst>
          </p:cNvPr>
          <p:cNvCxnSpPr/>
          <p:nvPr/>
        </p:nvCxnSpPr>
        <p:spPr>
          <a:xfrm>
            <a:off x="-15690" y="4266657"/>
            <a:ext cx="987552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449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/>
      <p:bldP spid="46" grpId="0"/>
      <p:bldP spid="54" grpId="0" animBg="1"/>
      <p:bldP spid="57" grpId="0" animBg="1"/>
      <p:bldP spid="10" grpId="0" animBg="1"/>
      <p:bldP spid="63" grpId="0" animBg="1"/>
      <p:bldP spid="66" grpId="0" animBg="1"/>
      <p:bldP spid="67" grpId="0" animBg="1"/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18F4BD6-2073-4233-A0E6-3CCDC4FAD60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038" b="22279"/>
          <a:stretch/>
        </p:blipFill>
        <p:spPr>
          <a:xfrm>
            <a:off x="4125596" y="3290976"/>
            <a:ext cx="5166360" cy="276457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3196A5-E239-44EA-8990-9AD4D2C61D2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782A-7D35-4FB5-996D-870FE094C26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13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A4A002C-DD55-47A0-A4E8-A369A550157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82898" y="1406852"/>
            <a:ext cx="7914622" cy="2814258"/>
          </a:xfrm>
        </p:spPr>
        <p:txBody>
          <a:bodyPr/>
          <a:lstStyle/>
          <a:p>
            <a:pPr algn="l"/>
            <a:r>
              <a:rPr lang="en-US" sz="2400" b="1" dirty="0"/>
              <a:t>BUSINESS</a:t>
            </a:r>
          </a:p>
          <a:p>
            <a:pPr algn="l"/>
            <a:endParaRPr lang="en-US" sz="2400" dirty="0"/>
          </a:p>
          <a:p>
            <a:pPr algn="l"/>
            <a:r>
              <a:rPr lang="en-US" sz="2000" dirty="0"/>
              <a:t>	- Business Potential</a:t>
            </a:r>
          </a:p>
          <a:p>
            <a:pPr algn="l"/>
            <a:endParaRPr lang="en-US" sz="2000" dirty="0"/>
          </a:p>
          <a:p>
            <a:pPr algn="l"/>
            <a:r>
              <a:rPr lang="en-US" sz="2000" dirty="0"/>
              <a:t>	- Revenue Models</a:t>
            </a:r>
          </a:p>
          <a:p>
            <a:pPr algn="l"/>
            <a:endParaRPr lang="en-US" sz="2000" dirty="0"/>
          </a:p>
          <a:p>
            <a:pPr algn="l"/>
            <a:r>
              <a:rPr lang="en-US" sz="2000" dirty="0"/>
              <a:t>	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0216F35-4828-4D4E-8960-8A31B6BFB9CD}"/>
              </a:ext>
            </a:extLst>
          </p:cNvPr>
          <p:cNvSpPr/>
          <p:nvPr/>
        </p:nvSpPr>
        <p:spPr bwMode="auto">
          <a:xfrm>
            <a:off x="6609230" y="2989017"/>
            <a:ext cx="2844510" cy="1376113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r>
              <a:rPr lang="en-US" sz="2400" dirty="0"/>
              <a:t>Revenue Model – Ways to Monetize the Websi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>
          <a:xfrm>
            <a:off x="6609230" y="6455475"/>
            <a:ext cx="3207970" cy="201600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7505800" y="6657076"/>
            <a:ext cx="2311400" cy="172350"/>
          </a:xfr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14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23" name="Rectangle 6">
            <a:extLst>
              <a:ext uri="{FF2B5EF4-FFF2-40B4-BE49-F238E27FC236}">
                <a16:creationId xmlns:a16="http://schemas.microsoft.com/office/drawing/2014/main" id="{11DF460A-F089-4853-BD89-57E78D1659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0710" y="3356990"/>
            <a:ext cx="4114800" cy="50407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en-GB" sz="2400" b="1" dirty="0">
                <a:solidFill>
                  <a:schemeClr val="bg1"/>
                </a:solidFill>
                <a:latin typeface="+mn-lt"/>
              </a:rPr>
              <a:t>Later</a:t>
            </a:r>
          </a:p>
        </p:txBody>
      </p:sp>
      <p:sp>
        <p:nvSpPr>
          <p:cNvPr id="24" name="Rectangle 27">
            <a:extLst>
              <a:ext uri="{FF2B5EF4-FFF2-40B4-BE49-F238E27FC236}">
                <a16:creationId xmlns:a16="http://schemas.microsoft.com/office/drawing/2014/main" id="{5DDCC050-2A7E-477D-8A89-C341A3B636E5}"/>
              </a:ext>
            </a:extLst>
          </p:cNvPr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5230810" y="3861011"/>
            <a:ext cx="4114800" cy="13716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2880" rtlCol="0" anchor="t" anchorCtr="0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283464" indent="-283464">
              <a:buFontTx/>
              <a:buChar char="-"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ubscriptions</a:t>
            </a:r>
          </a:p>
          <a:p>
            <a:pPr marL="557784" lvl="1" indent="-285750">
              <a:lnSpc>
                <a:spcPct val="100000"/>
              </a:lnSpc>
              <a:spcBef>
                <a:spcPts val="300"/>
              </a:spcBef>
              <a:buFont typeface="Calibri" panose="020F0502020204030204" pitchFamily="34" charset="0"/>
              <a:buChar char="­"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Soft/ Metered Paywall (for News, Topics)</a:t>
            </a:r>
          </a:p>
          <a:p>
            <a:pPr marL="557784" lvl="1" indent="-285750">
              <a:lnSpc>
                <a:spcPct val="100000"/>
              </a:lnSpc>
              <a:spcBef>
                <a:spcPts val="300"/>
              </a:spcBef>
              <a:buFont typeface="Calibri" panose="020F0502020204030204" pitchFamily="34" charset="0"/>
              <a:buChar char="­"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Freemium (for Gamification)</a:t>
            </a:r>
          </a:p>
          <a:p>
            <a:pPr marL="283464" indent="-283464">
              <a:spcBef>
                <a:spcPts val="600"/>
              </a:spcBef>
              <a:buFontTx/>
              <a:buChar char="-"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Virtual Goods (for Gamification)</a:t>
            </a: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6BADB3B5-F796-4178-9F84-AAA0178675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289" y="1352337"/>
            <a:ext cx="4114800" cy="50407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en-GB" sz="2400" b="1" dirty="0">
                <a:solidFill>
                  <a:schemeClr val="bg1"/>
                </a:solidFill>
                <a:latin typeface="+mn-lt"/>
              </a:rPr>
              <a:t>Phase 1</a:t>
            </a:r>
          </a:p>
        </p:txBody>
      </p:sp>
      <p:sp>
        <p:nvSpPr>
          <p:cNvPr id="26" name="Rectangle 27">
            <a:extLst>
              <a:ext uri="{FF2B5EF4-FFF2-40B4-BE49-F238E27FC236}">
                <a16:creationId xmlns:a16="http://schemas.microsoft.com/office/drawing/2014/main" id="{396A6283-8523-4E77-9EE5-2E1EEDC6F2FC}"/>
              </a:ext>
            </a:extLst>
          </p:cNvPr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560390" y="1856358"/>
            <a:ext cx="4114800" cy="3376254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2880" rtlCol="0" anchor="t" anchorCtr="0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274320" indent="-274320">
              <a:spcBef>
                <a:spcPts val="1200"/>
              </a:spcBef>
              <a:buFontTx/>
              <a:buChar char="-"/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 Advertising</a:t>
            </a:r>
          </a:p>
          <a:p>
            <a:pPr marL="557784" lvl="1" indent="-28575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­"/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Cost Per Click (CPC)</a:t>
            </a:r>
          </a:p>
          <a:p>
            <a:pPr marL="557784" lvl="1" indent="-28575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­"/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Cost Per Mile (CPM)</a:t>
            </a:r>
          </a:p>
          <a:p>
            <a:pPr marL="274320" indent="-274320">
              <a:spcBef>
                <a:spcPts val="1200"/>
              </a:spcBef>
              <a:buFontTx/>
              <a:buChar char="-"/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Affiliate Marketing/ Partnership</a:t>
            </a:r>
          </a:p>
          <a:p>
            <a:pPr marL="274320" indent="-274320">
              <a:spcBef>
                <a:spcPts val="1200"/>
              </a:spcBef>
              <a:buFontTx/>
              <a:buChar char="-"/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Lead Generation</a:t>
            </a:r>
          </a:p>
        </p:txBody>
      </p:sp>
      <p:sp>
        <p:nvSpPr>
          <p:cNvPr id="27" name="Rectangle 6">
            <a:extLst>
              <a:ext uri="{FF2B5EF4-FFF2-40B4-BE49-F238E27FC236}">
                <a16:creationId xmlns:a16="http://schemas.microsoft.com/office/drawing/2014/main" id="{F2921ADB-CC2D-4ABC-ADB2-DF51034C2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0710" y="1371464"/>
            <a:ext cx="4114800" cy="50407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en-GB" sz="2400" b="1" dirty="0">
                <a:solidFill>
                  <a:schemeClr val="bg1"/>
                </a:solidFill>
                <a:latin typeface="+mn-lt"/>
              </a:rPr>
              <a:t>Phase 2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B985DE-EE82-4FE4-A489-1044327ABE8F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5230810" y="1875485"/>
            <a:ext cx="4114800" cy="13716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2880" rtlCol="0" anchor="t" anchorCtr="0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283464" indent="-283464">
              <a:buFontTx/>
              <a:buChar char="-"/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Online Events</a:t>
            </a:r>
          </a:p>
          <a:p>
            <a:pPr marL="283464" indent="-283464">
              <a:spcBef>
                <a:spcPts val="600"/>
              </a:spcBef>
              <a:buFontTx/>
              <a:buChar char="-"/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Branded Content</a:t>
            </a:r>
          </a:p>
          <a:p>
            <a:pPr marL="557784" lvl="1" indent="-285750">
              <a:lnSpc>
                <a:spcPct val="100000"/>
              </a:lnSpc>
              <a:spcBef>
                <a:spcPts val="300"/>
              </a:spcBef>
              <a:buFont typeface="Calibri" panose="020F0502020204030204" pitchFamily="34" charset="0"/>
              <a:buChar char="­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Sponsored Images/Video</a:t>
            </a:r>
          </a:p>
          <a:p>
            <a:pPr marL="557784" lvl="1" indent="-285750">
              <a:lnSpc>
                <a:spcPct val="100000"/>
              </a:lnSpc>
              <a:spcBef>
                <a:spcPts val="300"/>
              </a:spcBef>
              <a:buFont typeface="Calibri" panose="020F0502020204030204" pitchFamily="34" charset="0"/>
              <a:buChar char="­"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Sponsored Story/Post</a:t>
            </a:r>
          </a:p>
          <a:p>
            <a:pPr marL="283464" indent="-283464">
              <a:spcBef>
                <a:spcPts val="600"/>
              </a:spcBef>
              <a:buFontTx/>
              <a:buChar char="-"/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Content Licensing &amp; Syndication</a:t>
            </a:r>
          </a:p>
        </p:txBody>
      </p:sp>
      <p:sp>
        <p:nvSpPr>
          <p:cNvPr id="32" name="Rounded Rectangle 25">
            <a:extLst>
              <a:ext uri="{FF2B5EF4-FFF2-40B4-BE49-F238E27FC236}">
                <a16:creationId xmlns:a16="http://schemas.microsoft.com/office/drawing/2014/main" id="{970A52A4-3D73-4391-8117-8ABF7A3A6575}"/>
              </a:ext>
            </a:extLst>
          </p:cNvPr>
          <p:cNvSpPr/>
          <p:nvPr/>
        </p:nvSpPr>
        <p:spPr>
          <a:xfrm>
            <a:off x="1" y="5589300"/>
            <a:ext cx="9906002" cy="685800"/>
          </a:xfrm>
          <a:prstGeom prst="roundRect">
            <a:avLst>
              <a:gd name="adj" fmla="val 0"/>
            </a:avLst>
          </a:prstGeom>
          <a:solidFill>
            <a:schemeClr val="bg2">
              <a:lumMod val="7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E5EFFCB-E7D8-43F5-868E-988424D07938}"/>
              </a:ext>
            </a:extLst>
          </p:cNvPr>
          <p:cNvSpPr/>
          <p:nvPr/>
        </p:nvSpPr>
        <p:spPr bwMode="auto">
          <a:xfrm>
            <a:off x="522292" y="5589300"/>
            <a:ext cx="1694328" cy="684846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Aft>
                <a:spcPts val="300"/>
              </a:spcAft>
            </a:pPr>
            <a:r>
              <a:rPr lang="en-US" b="1" dirty="0">
                <a:solidFill>
                  <a:srgbClr val="0B71AE"/>
                </a:solidFill>
                <a:cs typeface="+mn-cs"/>
              </a:rPr>
              <a:t>Recommendation</a:t>
            </a:r>
          </a:p>
        </p:txBody>
      </p:sp>
      <p:pic>
        <p:nvPicPr>
          <p:cNvPr id="38" name="Picture 4" descr="Image result for capgemini new logo">
            <a:extLst>
              <a:ext uri="{FF2B5EF4-FFF2-40B4-BE49-F238E27FC236}">
                <a16:creationId xmlns:a16="http://schemas.microsoft.com/office/drawing/2014/main" id="{492C7697-E5F9-441D-9FFB-91D32BAD9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3" y="570441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ounded Rectangle 25">
            <a:extLst>
              <a:ext uri="{FF2B5EF4-FFF2-40B4-BE49-F238E27FC236}">
                <a16:creationId xmlns:a16="http://schemas.microsoft.com/office/drawing/2014/main" id="{5B69A663-FA12-4565-82CA-C0003E0D7ECE}"/>
              </a:ext>
            </a:extLst>
          </p:cNvPr>
          <p:cNvSpPr/>
          <p:nvPr/>
        </p:nvSpPr>
        <p:spPr>
          <a:xfrm>
            <a:off x="2404078" y="5589300"/>
            <a:ext cx="6979630" cy="684846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b="1" dirty="0">
                <a:latin typeface="+mn-lt"/>
              </a:rPr>
              <a:t>Initially, the focus should be on generating revenue through display advertising. Gradually, online events and native adv. should be added</a:t>
            </a:r>
          </a:p>
        </p:txBody>
      </p:sp>
    </p:spTree>
    <p:extLst>
      <p:ext uri="{BB962C8B-B14F-4D97-AF65-F5344CB8AC3E}">
        <p14:creationId xmlns:p14="http://schemas.microsoft.com/office/powerpoint/2010/main" val="190907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6" grpId="0"/>
      <p:bldP spid="3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61ECEB5-BEAC-4F99-ADDE-732808C2794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038" b="22279"/>
          <a:stretch/>
        </p:blipFill>
        <p:spPr>
          <a:xfrm>
            <a:off x="4125596" y="3290976"/>
            <a:ext cx="5166360" cy="276457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3196A5-E239-44EA-8990-9AD4D2C61D2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782A-7D35-4FB5-996D-870FE094C26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15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A4A002C-DD55-47A0-A4E8-A369A550157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82898" y="1406852"/>
            <a:ext cx="7914622" cy="2814258"/>
          </a:xfrm>
        </p:spPr>
        <p:txBody>
          <a:bodyPr/>
          <a:lstStyle/>
          <a:p>
            <a:pPr algn="l"/>
            <a:r>
              <a:rPr lang="en-US" sz="2400" b="1" dirty="0"/>
              <a:t>TECHNOLOGY</a:t>
            </a:r>
          </a:p>
          <a:p>
            <a:pPr algn="l"/>
            <a:endParaRPr lang="en-US" sz="2400" dirty="0"/>
          </a:p>
          <a:p>
            <a:pPr algn="l"/>
            <a:r>
              <a:rPr lang="en-US" sz="2000" dirty="0"/>
              <a:t>	- CMS</a:t>
            </a:r>
          </a:p>
          <a:p>
            <a:pPr algn="l"/>
            <a:endParaRPr lang="en-US" sz="2000" dirty="0"/>
          </a:p>
          <a:p>
            <a:pPr algn="l"/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	- Website vs. App</a:t>
            </a:r>
          </a:p>
          <a:p>
            <a:pPr algn="l"/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pPr algn="l"/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	- Personalization &amp; Gamification Tool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0216F35-4828-4D4E-8960-8A31B6BFB9CD}"/>
              </a:ext>
            </a:extLst>
          </p:cNvPr>
          <p:cNvSpPr/>
          <p:nvPr/>
        </p:nvSpPr>
        <p:spPr bwMode="auto">
          <a:xfrm>
            <a:off x="5817120" y="5085230"/>
            <a:ext cx="1728241" cy="1152160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089D81B4-276C-4CF4-8617-0F868F0332C9}"/>
              </a:ext>
            </a:extLst>
          </p:cNvPr>
          <p:cNvSpPr/>
          <p:nvPr/>
        </p:nvSpPr>
        <p:spPr>
          <a:xfrm>
            <a:off x="1424510" y="2708900"/>
            <a:ext cx="288040" cy="720100"/>
          </a:xfrm>
          <a:prstGeom prst="leftBrac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4F248-EDD0-4F36-BEB3-5DBD83FB875B}"/>
              </a:ext>
            </a:extLst>
          </p:cNvPr>
          <p:cNvSpPr txBox="1"/>
          <p:nvPr/>
        </p:nvSpPr>
        <p:spPr bwMode="auto">
          <a:xfrm>
            <a:off x="416370" y="2996940"/>
            <a:ext cx="928459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In Appendix</a:t>
            </a:r>
          </a:p>
        </p:txBody>
      </p:sp>
    </p:spTree>
    <p:extLst>
      <p:ext uri="{BB962C8B-B14F-4D97-AF65-F5344CB8AC3E}">
        <p14:creationId xmlns:p14="http://schemas.microsoft.com/office/powerpoint/2010/main" val="400964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1053" y="17941"/>
            <a:ext cx="9905999" cy="728700"/>
          </a:xfr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CMS Comparison and Analysis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7 Capgemini. All rights reserved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CE626-3159-4274-8158-4292551456C4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aphicFrame>
        <p:nvGraphicFramePr>
          <p:cNvPr id="6" name="Group 39">
            <a:extLst>
              <a:ext uri="{FF2B5EF4-FFF2-40B4-BE49-F238E27FC236}">
                <a16:creationId xmlns:a16="http://schemas.microsoft.com/office/drawing/2014/main" id="{73C51C05-3EBF-4EDB-9639-07EE4B21F4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747885"/>
              </p:ext>
            </p:extLst>
          </p:nvPr>
        </p:nvGraphicFramePr>
        <p:xfrm>
          <a:off x="404477" y="2420860"/>
          <a:ext cx="9085153" cy="2004116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885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99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323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CM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Analysis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4C Plu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-9144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Calibri" panose="020F0502020204030204" pitchFamily="34" charset="0"/>
                        <a:buChar char="­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4C Plus CMS does not have the essential media, gamification, and personalisation capabilities required for the website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Escenic (CCI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-9144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Calibri" panose="020F0502020204030204" pitchFamily="34" charset="0"/>
                        <a:buChar char="­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Escenic being a CCI product, will make the news publication process easier </a:t>
                      </a:r>
                    </a:p>
                    <a:p>
                      <a:pPr marL="91440" marR="0" lvl="0" indent="-9144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Calibri" panose="020F0502020204030204" pitchFamily="34" charset="0"/>
                        <a:buChar char="­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Escenic can also provide better multimedia support, and greater ease of authoring than 4C Plus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TIL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-9144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Calibri" panose="020F0502020204030204" pitchFamily="34" charset="0"/>
                        <a:buChar char="­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TIL CMS being inhouse, will be cost effective</a:t>
                      </a:r>
                    </a:p>
                    <a:p>
                      <a:pPr marL="91440" marR="0" lvl="0" indent="-9144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Calibri" panose="020F0502020204030204" pitchFamily="34" charset="0"/>
                        <a:buChar char="­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itchFamily="34" charset="0"/>
                        </a:rPr>
                        <a:t>TIL CMS can also provide adequate multimedia support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Rounded Rectangle 25">
            <a:extLst>
              <a:ext uri="{FF2B5EF4-FFF2-40B4-BE49-F238E27FC236}">
                <a16:creationId xmlns:a16="http://schemas.microsoft.com/office/drawing/2014/main" id="{1AE6DA8A-8CCC-45A7-AFF2-F6B1A728A767}"/>
              </a:ext>
            </a:extLst>
          </p:cNvPr>
          <p:cNvSpPr/>
          <p:nvPr/>
        </p:nvSpPr>
        <p:spPr>
          <a:xfrm>
            <a:off x="1" y="5589300"/>
            <a:ext cx="9906002" cy="685800"/>
          </a:xfrm>
          <a:prstGeom prst="roundRect">
            <a:avLst>
              <a:gd name="adj" fmla="val 0"/>
            </a:avLst>
          </a:prstGeom>
          <a:solidFill>
            <a:schemeClr val="bg2">
              <a:lumMod val="7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BD21DF0-2BFA-4D87-A910-681076BD23BB}"/>
              </a:ext>
            </a:extLst>
          </p:cNvPr>
          <p:cNvSpPr/>
          <p:nvPr/>
        </p:nvSpPr>
        <p:spPr bwMode="auto">
          <a:xfrm>
            <a:off x="522292" y="5589300"/>
            <a:ext cx="1694328" cy="684846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Aft>
                <a:spcPts val="300"/>
              </a:spcAft>
            </a:pPr>
            <a:r>
              <a:rPr lang="en-US" b="1" dirty="0">
                <a:solidFill>
                  <a:srgbClr val="0B71AE"/>
                </a:solidFill>
                <a:cs typeface="+mn-cs"/>
              </a:rPr>
              <a:t>Recommendation</a:t>
            </a:r>
          </a:p>
        </p:txBody>
      </p:sp>
      <p:pic>
        <p:nvPicPr>
          <p:cNvPr id="11" name="Picture 4" descr="Image result for capgemini new logo">
            <a:extLst>
              <a:ext uri="{FF2B5EF4-FFF2-40B4-BE49-F238E27FC236}">
                <a16:creationId xmlns:a16="http://schemas.microsoft.com/office/drawing/2014/main" id="{898CE889-1BDF-44B3-BE7C-5EA5C655D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3" y="570441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25">
            <a:extLst>
              <a:ext uri="{FF2B5EF4-FFF2-40B4-BE49-F238E27FC236}">
                <a16:creationId xmlns:a16="http://schemas.microsoft.com/office/drawing/2014/main" id="{9C2E5502-3713-474B-A5E0-7FF862E77383}"/>
              </a:ext>
            </a:extLst>
          </p:cNvPr>
          <p:cNvSpPr/>
          <p:nvPr/>
        </p:nvSpPr>
        <p:spPr>
          <a:xfrm>
            <a:off x="2144610" y="5589300"/>
            <a:ext cx="7810895" cy="684846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/>
            <a:r>
              <a:rPr lang="en-US" sz="1600" b="1" dirty="0">
                <a:latin typeface="+mn-lt"/>
              </a:rPr>
              <a:t>The CMS should be finalized during the implementation stage of the project </a:t>
            </a:r>
          </a:p>
          <a:p>
            <a:pPr algn="ctr"/>
            <a:r>
              <a:rPr lang="en-US" sz="1600" dirty="0">
                <a:latin typeface="+mn-lt"/>
              </a:rPr>
              <a:t>(i.e. after the workflows and business req. doc are made and ‘proof of concept’ is completed)</a:t>
            </a:r>
          </a:p>
        </p:txBody>
      </p:sp>
      <p:sp>
        <p:nvSpPr>
          <p:cNvPr id="13" name="Rechteck 48">
            <a:extLst>
              <a:ext uri="{FF2B5EF4-FFF2-40B4-BE49-F238E27FC236}">
                <a16:creationId xmlns:a16="http://schemas.microsoft.com/office/drawing/2014/main" id="{1691244D-7BBD-4A20-93B0-BC57B7D9E0E1}"/>
              </a:ext>
            </a:extLst>
          </p:cNvPr>
          <p:cNvSpPr/>
          <p:nvPr/>
        </p:nvSpPr>
        <p:spPr bwMode="gray">
          <a:xfrm>
            <a:off x="2252180" y="4520302"/>
            <a:ext cx="7237449" cy="6400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108000" tIns="0" rtlCol="0" anchor="ctr" anchorCtr="0"/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latin typeface="+mn-lt"/>
                <a:cs typeface="+mn-cs"/>
              </a:rPr>
              <a:t>Escenic and the TIL CMS can be used but </a:t>
            </a:r>
            <a:r>
              <a:rPr lang="en-US" sz="1400" b="1" kern="0" dirty="0">
                <a:solidFill>
                  <a:schemeClr val="accent2"/>
                </a:solidFill>
                <a:latin typeface="+mn-lt"/>
                <a:cs typeface="+mn-cs"/>
              </a:rPr>
              <a:t>Gamification</a:t>
            </a:r>
            <a:r>
              <a:rPr lang="en-US" sz="1400" kern="0" dirty="0">
                <a:latin typeface="+mn-lt"/>
                <a:cs typeface="+mn-cs"/>
              </a:rPr>
              <a:t> and </a:t>
            </a:r>
            <a:r>
              <a:rPr lang="en-US" sz="1400" b="1" kern="0" dirty="0">
                <a:solidFill>
                  <a:schemeClr val="accent2"/>
                </a:solidFill>
                <a:latin typeface="+mn-lt"/>
                <a:cs typeface="+mn-cs"/>
              </a:rPr>
              <a:t>Personalization</a:t>
            </a:r>
            <a:r>
              <a:rPr lang="en-US" sz="1400" kern="0" dirty="0">
                <a:latin typeface="+mn-lt"/>
                <a:cs typeface="+mn-cs"/>
              </a:rPr>
              <a:t> capabilities should be added for best-in-class User-Experience</a:t>
            </a:r>
          </a:p>
        </p:txBody>
      </p:sp>
      <p:sp>
        <p:nvSpPr>
          <p:cNvPr id="14" name="Rechteck 48">
            <a:extLst>
              <a:ext uri="{FF2B5EF4-FFF2-40B4-BE49-F238E27FC236}">
                <a16:creationId xmlns:a16="http://schemas.microsoft.com/office/drawing/2014/main" id="{0DEA0056-3536-4279-8BBC-014D68893ADA}"/>
              </a:ext>
            </a:extLst>
          </p:cNvPr>
          <p:cNvSpPr/>
          <p:nvPr/>
        </p:nvSpPr>
        <p:spPr bwMode="gray">
          <a:xfrm>
            <a:off x="404476" y="4509150"/>
            <a:ext cx="1884153" cy="640080"/>
          </a:xfrm>
          <a:prstGeom prst="rect">
            <a:avLst/>
          </a:prstGeom>
          <a:solidFill>
            <a:srgbClr val="A50021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108000" tIns="0" rtlCol="0" anchor="ctr" anchorCtr="0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schemeClr val="bg1"/>
                </a:solidFill>
                <a:latin typeface="+mn-lt"/>
                <a:cs typeface="+mn-cs"/>
              </a:rPr>
              <a:t>Additional Capabilities Required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5" name="Slide Zoom 14">
                <a:extLst>
                  <a:ext uri="{FF2B5EF4-FFF2-40B4-BE49-F238E27FC236}">
                    <a16:creationId xmlns:a16="http://schemas.microsoft.com/office/drawing/2014/main" id="{0F7A11FB-2A2D-4189-870C-11F54DA8345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94757910"/>
                  </p:ext>
                </p:extLst>
              </p:nvPr>
            </p:nvGraphicFramePr>
            <p:xfrm>
              <a:off x="6609230" y="1195619"/>
              <a:ext cx="1463040" cy="1012873"/>
            </p:xfrm>
            <a:graphic>
              <a:graphicData uri="http://schemas.microsoft.com/office/powerpoint/2016/slidezoom">
                <pslz:sldZm>
                  <pslz:sldZmObj sldId="953" cId="1663126120">
                    <pslz:zmPr id="{749296F9-6389-48ED-938E-877971F5CBCA}" returnToParent="0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101287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5" name="Slide Zoom 14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0F7A11FB-2A2D-4189-870C-11F54DA8345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609230" y="1195619"/>
                <a:ext cx="1463040" cy="101287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16" name="TextBox 15">
            <a:extLst>
              <a:ext uri="{FF2B5EF4-FFF2-40B4-BE49-F238E27FC236}">
                <a16:creationId xmlns:a16="http://schemas.microsoft.com/office/drawing/2014/main" id="{9DEF399C-85F4-40EE-8587-68F902ACDFDB}"/>
              </a:ext>
            </a:extLst>
          </p:cNvPr>
          <p:cNvSpPr txBox="1"/>
          <p:nvPr/>
        </p:nvSpPr>
        <p:spPr bwMode="auto">
          <a:xfrm>
            <a:off x="1369456" y="1227272"/>
            <a:ext cx="4824670" cy="949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ssential CMS features were listed based on the proposed value propositions. Three probable CMS were compared based on the essential CMS features</a:t>
            </a:r>
            <a:endParaRPr lang="en-US" dirty="0">
              <a:solidFill>
                <a:schemeClr val="accent2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82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B5B45E-7B6B-47E5-992B-4DAA8E541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7DDC38-DE0E-407A-8C9D-C972AF6CF4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17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08978EC-FAF0-4A23-9251-7A76F402AAF8}"/>
              </a:ext>
            </a:extLst>
          </p:cNvPr>
          <p:cNvSpPr txBox="1">
            <a:spLocks/>
          </p:cNvSpPr>
          <p:nvPr/>
        </p:nvSpPr>
        <p:spPr>
          <a:xfrm>
            <a:off x="1460515" y="3348390"/>
            <a:ext cx="6984970" cy="7287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/>
            <a:r>
              <a:rPr lang="en-US" sz="3200" dirty="0">
                <a:solidFill>
                  <a:srgbClr val="B10034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1869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FAFB69-D96E-4734-B14A-93366A19C0E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E80997-A409-4764-A86B-F948DCF2525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18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295C56B-5AB8-4060-AE41-164447C26AD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0450" y="2780910"/>
            <a:ext cx="9210675" cy="720100"/>
          </a:xfrm>
        </p:spPr>
        <p:txBody>
          <a:bodyPr/>
          <a:lstStyle/>
          <a:p>
            <a:r>
              <a:rPr lang="en-US" sz="3600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46934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5">
            <a:extLst>
              <a:ext uri="{FF2B5EF4-FFF2-40B4-BE49-F238E27FC236}">
                <a16:creationId xmlns:a16="http://schemas.microsoft.com/office/drawing/2014/main" id="{A9289BB2-2CE0-4AA6-9839-54EEEF0B8FA5}"/>
              </a:ext>
            </a:extLst>
          </p:cNvPr>
          <p:cNvSpPr/>
          <p:nvPr/>
        </p:nvSpPr>
        <p:spPr>
          <a:xfrm>
            <a:off x="992450" y="1869091"/>
            <a:ext cx="4114800" cy="4224279"/>
          </a:xfrm>
          <a:prstGeom prst="rect">
            <a:avLst/>
          </a:prstGeom>
          <a:solidFill>
            <a:schemeClr val="bg1"/>
          </a:solidFill>
        </p:spPr>
        <p:txBody>
          <a:bodyPr tIns="91440" anchor="t">
            <a:noAutofit/>
          </a:bodyPr>
          <a:lstStyle/>
          <a:p>
            <a:pPr marL="177800" marR="0" lvl="1" indent="-176213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6E0038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ontent Strategy</a:t>
            </a:r>
            <a:br>
              <a:rPr lang="en-US" dirty="0"/>
            </a:br>
            <a:r>
              <a:rPr lang="en-US" sz="1400" dirty="0"/>
              <a:t>Student News, Topic Oriented Content, Gamification of Learning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7 Capgemini. All rights reserved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CE626-3159-4274-8158-4292551456C4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4" name="Rechteck 6">
            <a:extLst>
              <a:ext uri="{FF2B5EF4-FFF2-40B4-BE49-F238E27FC236}">
                <a16:creationId xmlns:a16="http://schemas.microsoft.com/office/drawing/2014/main" id="{58423327-961B-4CD9-A5AF-FB08A7C8A694}"/>
              </a:ext>
            </a:extLst>
          </p:cNvPr>
          <p:cNvSpPr/>
          <p:nvPr/>
        </p:nvSpPr>
        <p:spPr>
          <a:xfrm>
            <a:off x="5274190" y="1869091"/>
            <a:ext cx="4114800" cy="4224279"/>
          </a:xfrm>
          <a:prstGeom prst="rect">
            <a:avLst/>
          </a:prstGeom>
          <a:solidFill>
            <a:schemeClr val="bg1"/>
          </a:solidFill>
        </p:spPr>
        <p:txBody>
          <a:bodyPr tIns="91440" anchor="t">
            <a:noAutofit/>
          </a:bodyPr>
          <a:lstStyle/>
          <a:p>
            <a:pPr marL="177800" marR="0" lvl="1" indent="-176213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6E0038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26" name="Rechteck 8" descr="PresentationLoad.com">
            <a:extLst>
              <a:ext uri="{FF2B5EF4-FFF2-40B4-BE49-F238E27FC236}">
                <a16:creationId xmlns:a16="http://schemas.microsoft.com/office/drawing/2014/main" id="{71FE7658-A3E9-4103-8FDE-170AB20FAB06}"/>
              </a:ext>
            </a:extLst>
          </p:cNvPr>
          <p:cNvSpPr/>
          <p:nvPr/>
        </p:nvSpPr>
        <p:spPr>
          <a:xfrm>
            <a:off x="992451" y="1412720"/>
            <a:ext cx="41148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44000" bIns="144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ase 1 – Revamped Website Launch</a:t>
            </a:r>
          </a:p>
        </p:txBody>
      </p:sp>
      <p:sp>
        <p:nvSpPr>
          <p:cNvPr id="27" name="Rechteck 9" descr="PresentationLoad.com">
            <a:extLst>
              <a:ext uri="{FF2B5EF4-FFF2-40B4-BE49-F238E27FC236}">
                <a16:creationId xmlns:a16="http://schemas.microsoft.com/office/drawing/2014/main" id="{4791375F-BC7B-402D-A43A-CACF1EB69FA6}"/>
              </a:ext>
            </a:extLst>
          </p:cNvPr>
          <p:cNvSpPr/>
          <p:nvPr/>
        </p:nvSpPr>
        <p:spPr>
          <a:xfrm>
            <a:off x="5274191" y="1412720"/>
            <a:ext cx="411480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44000" bIns="144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ase 2 – App Launch 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includes Gamification)</a:t>
            </a:r>
          </a:p>
        </p:txBody>
      </p:sp>
      <p:sp>
        <p:nvSpPr>
          <p:cNvPr id="52" name="Pfeil nach rechts 25">
            <a:extLst>
              <a:ext uri="{FF2B5EF4-FFF2-40B4-BE49-F238E27FC236}">
                <a16:creationId xmlns:a16="http://schemas.microsoft.com/office/drawing/2014/main" id="{8BC055AE-92B2-455A-B9E0-ADC78857274B}"/>
              </a:ext>
            </a:extLst>
          </p:cNvPr>
          <p:cNvSpPr/>
          <p:nvPr/>
        </p:nvSpPr>
        <p:spPr bwMode="gray">
          <a:xfrm>
            <a:off x="5076268" y="3583790"/>
            <a:ext cx="355251" cy="565310"/>
          </a:xfrm>
          <a:prstGeom prst="rightArrow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grpSp>
        <p:nvGrpSpPr>
          <p:cNvPr id="53" name="Groupe 577">
            <a:extLst>
              <a:ext uri="{FF2B5EF4-FFF2-40B4-BE49-F238E27FC236}">
                <a16:creationId xmlns:a16="http://schemas.microsoft.com/office/drawing/2014/main" id="{7D7E976F-34CA-40C1-B37E-32CA10D3C63F}"/>
              </a:ext>
            </a:extLst>
          </p:cNvPr>
          <p:cNvGrpSpPr>
            <a:grpSpLocks noChangeAspect="1"/>
          </p:cNvGrpSpPr>
          <p:nvPr/>
        </p:nvGrpSpPr>
        <p:grpSpPr>
          <a:xfrm>
            <a:off x="2288630" y="2061581"/>
            <a:ext cx="670231" cy="548640"/>
            <a:chOff x="7505701" y="1801813"/>
            <a:chExt cx="358775" cy="293688"/>
          </a:xfrm>
        </p:grpSpPr>
        <p:sp>
          <p:nvSpPr>
            <p:cNvPr id="54" name="Freeform 381">
              <a:extLst>
                <a:ext uri="{FF2B5EF4-FFF2-40B4-BE49-F238E27FC236}">
                  <a16:creationId xmlns:a16="http://schemas.microsoft.com/office/drawing/2014/main" id="{37324541-D880-41FD-9F06-34DD23A37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1" y="1906588"/>
              <a:ext cx="95250" cy="1588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38" y="0"/>
                </a:cxn>
                <a:cxn ang="0">
                  <a:pos x="0" y="0"/>
                </a:cxn>
              </a:cxnLst>
              <a:rect l="0" t="0" r="r" b="b"/>
              <a:pathLst>
                <a:path w="60">
                  <a:moveTo>
                    <a:pt x="60" y="0"/>
                  </a:move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382">
              <a:extLst>
                <a:ext uri="{FF2B5EF4-FFF2-40B4-BE49-F238E27FC236}">
                  <a16:creationId xmlns:a16="http://schemas.microsoft.com/office/drawing/2014/main" id="{ED42995E-3526-4A3F-82BE-D05FE497A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376" y="1906588"/>
              <a:ext cx="122238" cy="984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6" y="0"/>
                </a:cxn>
                <a:cxn ang="0">
                  <a:pos x="31" y="5"/>
                </a:cxn>
                <a:cxn ang="0">
                  <a:pos x="31" y="16"/>
                </a:cxn>
                <a:cxn ang="0">
                  <a:pos x="41" y="16"/>
                </a:cxn>
                <a:cxn ang="0">
                  <a:pos x="41" y="12"/>
                </a:cxn>
                <a:cxn ang="0">
                  <a:pos x="63" y="1"/>
                </a:cxn>
                <a:cxn ang="0">
                  <a:pos x="63" y="50"/>
                </a:cxn>
                <a:cxn ang="0">
                  <a:pos x="41" y="38"/>
                </a:cxn>
                <a:cxn ang="0">
                  <a:pos x="41" y="35"/>
                </a:cxn>
                <a:cxn ang="0">
                  <a:pos x="31" y="35"/>
                </a:cxn>
                <a:cxn ang="0">
                  <a:pos x="31" y="46"/>
                </a:cxn>
                <a:cxn ang="0">
                  <a:pos x="26" y="51"/>
                </a:cxn>
                <a:cxn ang="0">
                  <a:pos x="0" y="51"/>
                </a:cxn>
              </a:cxnLst>
              <a:rect l="0" t="0" r="r" b="b"/>
              <a:pathLst>
                <a:path w="63" h="51">
                  <a:moveTo>
                    <a:pt x="8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1" y="2"/>
                    <a:pt x="31" y="5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9"/>
                    <a:pt x="29" y="51"/>
                    <a:pt x="26" y="51"/>
                  </a:cubicBezTo>
                  <a:cubicBezTo>
                    <a:pt x="0" y="51"/>
                    <a:pt x="0" y="51"/>
                    <a:pt x="0" y="51"/>
                  </a:cubicBez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383">
              <a:extLst>
                <a:ext uri="{FF2B5EF4-FFF2-40B4-BE49-F238E27FC236}">
                  <a16:creationId xmlns:a16="http://schemas.microsoft.com/office/drawing/2014/main" id="{E61424C9-E1B5-4648-9BB7-D5CCF1565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51" y="1906588"/>
              <a:ext cx="31750" cy="8890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46"/>
                </a:cxn>
              </a:cxnLst>
              <a:rect l="0" t="0" r="r" b="b"/>
              <a:pathLst>
                <a:path w="17" h="46">
                  <a:moveTo>
                    <a:pt x="1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46"/>
                    <a:pt x="0" y="46"/>
                    <a:pt x="0" y="46"/>
                  </a:cubicBez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7" name="Freeform 384">
              <a:extLst>
                <a:ext uri="{FF2B5EF4-FFF2-40B4-BE49-F238E27FC236}">
                  <a16:creationId xmlns:a16="http://schemas.microsoft.com/office/drawing/2014/main" id="{6EB303F8-3249-47C7-A2D3-888CF2E68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1" y="1873251"/>
              <a:ext cx="95250" cy="33338"/>
            </a:xfrm>
            <a:custGeom>
              <a:avLst/>
              <a:gdLst/>
              <a:ahLst/>
              <a:cxnLst>
                <a:cxn ang="0">
                  <a:pos x="60" y="21"/>
                </a:cxn>
                <a:cxn ang="0">
                  <a:pos x="60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60" h="21">
                  <a:moveTo>
                    <a:pt x="60" y="21"/>
                  </a:moveTo>
                  <a:lnTo>
                    <a:pt x="60" y="0"/>
                  </a:lnTo>
                  <a:lnTo>
                    <a:pt x="0" y="0"/>
                  </a:lnTo>
                  <a:lnTo>
                    <a:pt x="0" y="21"/>
                  </a:ln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385">
              <a:extLst>
                <a:ext uri="{FF2B5EF4-FFF2-40B4-BE49-F238E27FC236}">
                  <a16:creationId xmlns:a16="http://schemas.microsoft.com/office/drawing/2014/main" id="{AFB498F2-E33C-49FF-A1E7-456658C4D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3801" y="1912938"/>
              <a:ext cx="39688" cy="460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9"/>
                </a:cxn>
                <a:cxn ang="0">
                  <a:pos x="25" y="22"/>
                </a:cxn>
                <a:cxn ang="0">
                  <a:pos x="25" y="7"/>
                </a:cxn>
                <a:cxn ang="0">
                  <a:pos x="0" y="0"/>
                </a:cxn>
              </a:cxnLst>
              <a:rect l="0" t="0" r="r" b="b"/>
              <a:pathLst>
                <a:path w="25" h="29">
                  <a:moveTo>
                    <a:pt x="0" y="0"/>
                  </a:moveTo>
                  <a:lnTo>
                    <a:pt x="0" y="29"/>
                  </a:lnTo>
                  <a:lnTo>
                    <a:pt x="25" y="22"/>
                  </a:lnTo>
                  <a:lnTo>
                    <a:pt x="25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9" name="Line 386">
              <a:extLst>
                <a:ext uri="{FF2B5EF4-FFF2-40B4-BE49-F238E27FC236}">
                  <a16:creationId xmlns:a16="http://schemas.microsoft.com/office/drawing/2014/main" id="{61DEC8EC-F1CC-4E67-92D8-343D7C3378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05701" y="1801813"/>
              <a:ext cx="358775" cy="1588"/>
            </a:xfrm>
            <a:prstGeom prst="line">
              <a:avLst/>
            </a:pr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0" name="Line 387">
              <a:extLst>
                <a:ext uri="{FF2B5EF4-FFF2-40B4-BE49-F238E27FC236}">
                  <a16:creationId xmlns:a16="http://schemas.microsoft.com/office/drawing/2014/main" id="{3594DA54-9CAD-42CF-9251-9A87CDFED7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05701" y="2093913"/>
              <a:ext cx="358775" cy="1588"/>
            </a:xfrm>
            <a:prstGeom prst="line">
              <a:avLst/>
            </a:pr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388">
              <a:extLst>
                <a:ext uri="{FF2B5EF4-FFF2-40B4-BE49-F238E27FC236}">
                  <a16:creationId xmlns:a16="http://schemas.microsoft.com/office/drawing/2014/main" id="{C294DB68-54F2-405D-B356-10FB45C96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5701" y="1816101"/>
              <a:ext cx="26988" cy="28575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3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4" y="14"/>
                </a:cxn>
              </a:cxnLst>
              <a:rect l="0" t="0" r="r" b="b"/>
              <a:pathLst>
                <a:path w="14" h="15">
                  <a:moveTo>
                    <a:pt x="14" y="14"/>
                  </a:moveTo>
                  <a:cubicBezTo>
                    <a:pt x="14" y="14"/>
                    <a:pt x="14" y="15"/>
                    <a:pt x="13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1"/>
                    <a:pt x="14" y="2"/>
                  </a:cubicBezTo>
                  <a:lnTo>
                    <a:pt x="14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2" name="Freeform 389">
              <a:extLst>
                <a:ext uri="{FF2B5EF4-FFF2-40B4-BE49-F238E27FC236}">
                  <a16:creationId xmlns:a16="http://schemas.microsoft.com/office/drawing/2014/main" id="{5A7B7A3C-411F-471C-A7F9-B17AE2EBF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8089" y="1816101"/>
              <a:ext cx="30163" cy="28575"/>
            </a:xfrm>
            <a:custGeom>
              <a:avLst/>
              <a:gdLst/>
              <a:ahLst/>
              <a:cxnLst>
                <a:cxn ang="0">
                  <a:pos x="15" y="14"/>
                </a:cxn>
                <a:cxn ang="0">
                  <a:pos x="14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4" y="0"/>
                </a:cxn>
                <a:cxn ang="0">
                  <a:pos x="15" y="2"/>
                </a:cxn>
                <a:cxn ang="0">
                  <a:pos x="15" y="14"/>
                </a:cxn>
              </a:cxnLst>
              <a:rect l="0" t="0" r="r" b="b"/>
              <a:pathLst>
                <a:path w="15" h="15">
                  <a:moveTo>
                    <a:pt x="15" y="14"/>
                  </a:moveTo>
                  <a:cubicBezTo>
                    <a:pt x="15" y="14"/>
                    <a:pt x="14" y="15"/>
                    <a:pt x="14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1"/>
                    <a:pt x="15" y="2"/>
                  </a:cubicBezTo>
                  <a:lnTo>
                    <a:pt x="15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3" name="Freeform 390">
              <a:extLst>
                <a:ext uri="{FF2B5EF4-FFF2-40B4-BE49-F238E27FC236}">
                  <a16:creationId xmlns:a16="http://schemas.microsoft.com/office/drawing/2014/main" id="{46D71CF2-3249-4718-95B8-98746C4C3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1" y="1816101"/>
              <a:ext cx="28575" cy="28575"/>
            </a:xfrm>
            <a:custGeom>
              <a:avLst/>
              <a:gdLst/>
              <a:ahLst/>
              <a:cxnLst>
                <a:cxn ang="0">
                  <a:pos x="15" y="14"/>
                </a:cxn>
                <a:cxn ang="0">
                  <a:pos x="14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4" y="0"/>
                </a:cxn>
                <a:cxn ang="0">
                  <a:pos x="15" y="2"/>
                </a:cxn>
                <a:cxn ang="0">
                  <a:pos x="15" y="14"/>
                </a:cxn>
              </a:cxnLst>
              <a:rect l="0" t="0" r="r" b="b"/>
              <a:pathLst>
                <a:path w="15" h="15">
                  <a:moveTo>
                    <a:pt x="15" y="14"/>
                  </a:moveTo>
                  <a:cubicBezTo>
                    <a:pt x="15" y="14"/>
                    <a:pt x="14" y="15"/>
                    <a:pt x="14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1"/>
                    <a:pt x="15" y="2"/>
                  </a:cubicBezTo>
                  <a:lnTo>
                    <a:pt x="15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4" name="Freeform 391">
              <a:extLst>
                <a:ext uri="{FF2B5EF4-FFF2-40B4-BE49-F238E27FC236}">
                  <a16:creationId xmlns:a16="http://schemas.microsoft.com/office/drawing/2014/main" id="{7DA22CB6-7F97-4598-9C2E-B5F18BD1D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626" y="1816101"/>
              <a:ext cx="26988" cy="28575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3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4" y="14"/>
                </a:cxn>
              </a:cxnLst>
              <a:rect l="0" t="0" r="r" b="b"/>
              <a:pathLst>
                <a:path w="14" h="15">
                  <a:moveTo>
                    <a:pt x="14" y="14"/>
                  </a:moveTo>
                  <a:cubicBezTo>
                    <a:pt x="14" y="14"/>
                    <a:pt x="14" y="15"/>
                    <a:pt x="13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1"/>
                    <a:pt x="14" y="2"/>
                  </a:cubicBezTo>
                  <a:lnTo>
                    <a:pt x="14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5" name="Freeform 392">
              <a:extLst>
                <a:ext uri="{FF2B5EF4-FFF2-40B4-BE49-F238E27FC236}">
                  <a16:creationId xmlns:a16="http://schemas.microsoft.com/office/drawing/2014/main" id="{4D419AB6-E4E6-45BB-96E9-112A6A352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1601" y="1816101"/>
              <a:ext cx="26988" cy="28575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3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4" y="14"/>
                </a:cxn>
              </a:cxnLst>
              <a:rect l="0" t="0" r="r" b="b"/>
              <a:pathLst>
                <a:path w="14" h="15">
                  <a:moveTo>
                    <a:pt x="14" y="14"/>
                  </a:moveTo>
                  <a:cubicBezTo>
                    <a:pt x="14" y="14"/>
                    <a:pt x="14" y="15"/>
                    <a:pt x="13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1"/>
                    <a:pt x="14" y="2"/>
                  </a:cubicBezTo>
                  <a:lnTo>
                    <a:pt x="14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6" name="Freeform 393">
              <a:extLst>
                <a:ext uri="{FF2B5EF4-FFF2-40B4-BE49-F238E27FC236}">
                  <a16:creationId xmlns:a16="http://schemas.microsoft.com/office/drawing/2014/main" id="{ED0E2146-B73C-4EB9-A9E1-B9B5909AC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5576" y="1816101"/>
              <a:ext cx="26988" cy="28575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3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4" y="14"/>
                </a:cxn>
              </a:cxnLst>
              <a:rect l="0" t="0" r="r" b="b"/>
              <a:pathLst>
                <a:path w="14" h="15">
                  <a:moveTo>
                    <a:pt x="14" y="14"/>
                  </a:moveTo>
                  <a:cubicBezTo>
                    <a:pt x="14" y="14"/>
                    <a:pt x="14" y="15"/>
                    <a:pt x="13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1"/>
                    <a:pt x="14" y="2"/>
                  </a:cubicBezTo>
                  <a:lnTo>
                    <a:pt x="14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394">
              <a:extLst>
                <a:ext uri="{FF2B5EF4-FFF2-40B4-BE49-F238E27FC236}">
                  <a16:creationId xmlns:a16="http://schemas.microsoft.com/office/drawing/2014/main" id="{2800B18F-E236-4DDF-94EF-CBFA16101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7964" y="1816101"/>
              <a:ext cx="28575" cy="28575"/>
            </a:xfrm>
            <a:custGeom>
              <a:avLst/>
              <a:gdLst/>
              <a:ahLst/>
              <a:cxnLst>
                <a:cxn ang="0">
                  <a:pos x="15" y="14"/>
                </a:cxn>
                <a:cxn ang="0">
                  <a:pos x="14" y="15"/>
                </a:cxn>
                <a:cxn ang="0">
                  <a:pos x="2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14" y="0"/>
                </a:cxn>
                <a:cxn ang="0">
                  <a:pos x="15" y="2"/>
                </a:cxn>
                <a:cxn ang="0">
                  <a:pos x="15" y="14"/>
                </a:cxn>
              </a:cxnLst>
              <a:rect l="0" t="0" r="r" b="b"/>
              <a:pathLst>
                <a:path w="15" h="15">
                  <a:moveTo>
                    <a:pt x="15" y="14"/>
                  </a:moveTo>
                  <a:cubicBezTo>
                    <a:pt x="15" y="14"/>
                    <a:pt x="14" y="15"/>
                    <a:pt x="14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1"/>
                    <a:pt x="15" y="2"/>
                  </a:cubicBezTo>
                  <a:lnTo>
                    <a:pt x="15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8" name="Freeform 395">
              <a:extLst>
                <a:ext uri="{FF2B5EF4-FFF2-40B4-BE49-F238E27FC236}">
                  <a16:creationId xmlns:a16="http://schemas.microsoft.com/office/drawing/2014/main" id="{E9EFF77D-B5E0-494B-A126-7D8CEDDF9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5701" y="2047876"/>
              <a:ext cx="26988" cy="28575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3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4" y="14"/>
                </a:cxn>
              </a:cxnLst>
              <a:rect l="0" t="0" r="r" b="b"/>
              <a:pathLst>
                <a:path w="14" h="15">
                  <a:moveTo>
                    <a:pt x="14" y="14"/>
                  </a:moveTo>
                  <a:cubicBezTo>
                    <a:pt x="14" y="14"/>
                    <a:pt x="14" y="15"/>
                    <a:pt x="13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1"/>
                    <a:pt x="14" y="2"/>
                  </a:cubicBezTo>
                  <a:lnTo>
                    <a:pt x="14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9" name="Freeform 396">
              <a:extLst>
                <a:ext uri="{FF2B5EF4-FFF2-40B4-BE49-F238E27FC236}">
                  <a16:creationId xmlns:a16="http://schemas.microsoft.com/office/drawing/2014/main" id="{1D6FC6C1-FE43-4ACD-B3D2-D8E286925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8089" y="2047876"/>
              <a:ext cx="30163" cy="28575"/>
            </a:xfrm>
            <a:custGeom>
              <a:avLst/>
              <a:gdLst/>
              <a:ahLst/>
              <a:cxnLst>
                <a:cxn ang="0">
                  <a:pos x="15" y="14"/>
                </a:cxn>
                <a:cxn ang="0">
                  <a:pos x="14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4" y="0"/>
                </a:cxn>
                <a:cxn ang="0">
                  <a:pos x="15" y="2"/>
                </a:cxn>
                <a:cxn ang="0">
                  <a:pos x="15" y="14"/>
                </a:cxn>
              </a:cxnLst>
              <a:rect l="0" t="0" r="r" b="b"/>
              <a:pathLst>
                <a:path w="15" h="15">
                  <a:moveTo>
                    <a:pt x="15" y="14"/>
                  </a:moveTo>
                  <a:cubicBezTo>
                    <a:pt x="15" y="14"/>
                    <a:pt x="14" y="15"/>
                    <a:pt x="14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1"/>
                    <a:pt x="15" y="2"/>
                  </a:cubicBezTo>
                  <a:lnTo>
                    <a:pt x="15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70" name="Freeform 397">
              <a:extLst>
                <a:ext uri="{FF2B5EF4-FFF2-40B4-BE49-F238E27FC236}">
                  <a16:creationId xmlns:a16="http://schemas.microsoft.com/office/drawing/2014/main" id="{BB3A0582-27B4-4AC4-AB98-E73DD770A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1" y="2047876"/>
              <a:ext cx="28575" cy="28575"/>
            </a:xfrm>
            <a:custGeom>
              <a:avLst/>
              <a:gdLst/>
              <a:ahLst/>
              <a:cxnLst>
                <a:cxn ang="0">
                  <a:pos x="15" y="14"/>
                </a:cxn>
                <a:cxn ang="0">
                  <a:pos x="14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4" y="0"/>
                </a:cxn>
                <a:cxn ang="0">
                  <a:pos x="15" y="2"/>
                </a:cxn>
                <a:cxn ang="0">
                  <a:pos x="15" y="14"/>
                </a:cxn>
              </a:cxnLst>
              <a:rect l="0" t="0" r="r" b="b"/>
              <a:pathLst>
                <a:path w="15" h="15">
                  <a:moveTo>
                    <a:pt x="15" y="14"/>
                  </a:moveTo>
                  <a:cubicBezTo>
                    <a:pt x="15" y="14"/>
                    <a:pt x="14" y="15"/>
                    <a:pt x="14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1"/>
                    <a:pt x="15" y="2"/>
                  </a:cubicBezTo>
                  <a:lnTo>
                    <a:pt x="15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398">
              <a:extLst>
                <a:ext uri="{FF2B5EF4-FFF2-40B4-BE49-F238E27FC236}">
                  <a16:creationId xmlns:a16="http://schemas.microsoft.com/office/drawing/2014/main" id="{2A71542F-69EF-44AC-8DE4-29738EB22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626" y="2047876"/>
              <a:ext cx="26988" cy="28575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3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4" y="14"/>
                </a:cxn>
              </a:cxnLst>
              <a:rect l="0" t="0" r="r" b="b"/>
              <a:pathLst>
                <a:path w="14" h="15">
                  <a:moveTo>
                    <a:pt x="14" y="14"/>
                  </a:moveTo>
                  <a:cubicBezTo>
                    <a:pt x="14" y="14"/>
                    <a:pt x="14" y="15"/>
                    <a:pt x="13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1"/>
                    <a:pt x="14" y="2"/>
                  </a:cubicBezTo>
                  <a:lnTo>
                    <a:pt x="14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72" name="Freeform 399">
              <a:extLst>
                <a:ext uri="{FF2B5EF4-FFF2-40B4-BE49-F238E27FC236}">
                  <a16:creationId xmlns:a16="http://schemas.microsoft.com/office/drawing/2014/main" id="{2759B7BB-FB30-4B16-AA4C-D182E7167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1601" y="2047876"/>
              <a:ext cx="26988" cy="28575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3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4" y="14"/>
                </a:cxn>
              </a:cxnLst>
              <a:rect l="0" t="0" r="r" b="b"/>
              <a:pathLst>
                <a:path w="14" h="15">
                  <a:moveTo>
                    <a:pt x="14" y="14"/>
                  </a:moveTo>
                  <a:cubicBezTo>
                    <a:pt x="14" y="14"/>
                    <a:pt x="14" y="15"/>
                    <a:pt x="13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1"/>
                    <a:pt x="14" y="2"/>
                  </a:cubicBezTo>
                  <a:lnTo>
                    <a:pt x="14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73" name="Freeform 400">
              <a:extLst>
                <a:ext uri="{FF2B5EF4-FFF2-40B4-BE49-F238E27FC236}">
                  <a16:creationId xmlns:a16="http://schemas.microsoft.com/office/drawing/2014/main" id="{0D5F51B6-56FB-415A-B790-A20EA19F5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5576" y="2047876"/>
              <a:ext cx="26988" cy="28575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3" y="15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4" y="14"/>
                </a:cxn>
              </a:cxnLst>
              <a:rect l="0" t="0" r="r" b="b"/>
              <a:pathLst>
                <a:path w="14" h="15">
                  <a:moveTo>
                    <a:pt x="14" y="14"/>
                  </a:moveTo>
                  <a:cubicBezTo>
                    <a:pt x="14" y="14"/>
                    <a:pt x="14" y="15"/>
                    <a:pt x="13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1"/>
                    <a:pt x="14" y="2"/>
                  </a:cubicBezTo>
                  <a:lnTo>
                    <a:pt x="14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74" name="Freeform 401">
              <a:extLst>
                <a:ext uri="{FF2B5EF4-FFF2-40B4-BE49-F238E27FC236}">
                  <a16:creationId xmlns:a16="http://schemas.microsoft.com/office/drawing/2014/main" id="{FA582FA7-613A-4574-9F3E-7F7C24627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7964" y="2047876"/>
              <a:ext cx="28575" cy="28575"/>
            </a:xfrm>
            <a:custGeom>
              <a:avLst/>
              <a:gdLst/>
              <a:ahLst/>
              <a:cxnLst>
                <a:cxn ang="0">
                  <a:pos x="15" y="14"/>
                </a:cxn>
                <a:cxn ang="0">
                  <a:pos x="14" y="15"/>
                </a:cxn>
                <a:cxn ang="0">
                  <a:pos x="2" y="15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14" y="0"/>
                </a:cxn>
                <a:cxn ang="0">
                  <a:pos x="15" y="2"/>
                </a:cxn>
                <a:cxn ang="0">
                  <a:pos x="15" y="14"/>
                </a:cxn>
              </a:cxnLst>
              <a:rect l="0" t="0" r="r" b="b"/>
              <a:pathLst>
                <a:path w="15" h="15">
                  <a:moveTo>
                    <a:pt x="15" y="14"/>
                  </a:moveTo>
                  <a:cubicBezTo>
                    <a:pt x="15" y="14"/>
                    <a:pt x="14" y="15"/>
                    <a:pt x="14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1"/>
                    <a:pt x="15" y="2"/>
                  </a:cubicBezTo>
                  <a:lnTo>
                    <a:pt x="15" y="14"/>
                  </a:lnTo>
                  <a:close/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6C6D87C6-B682-4477-B118-9A86E5302636}"/>
              </a:ext>
            </a:extLst>
          </p:cNvPr>
          <p:cNvGrpSpPr>
            <a:grpSpLocks noChangeAspect="1"/>
          </p:cNvGrpSpPr>
          <p:nvPr/>
        </p:nvGrpSpPr>
        <p:grpSpPr>
          <a:xfrm>
            <a:off x="1216702" y="2060810"/>
            <a:ext cx="694944" cy="548640"/>
            <a:chOff x="1585913" y="4262438"/>
            <a:chExt cx="392113" cy="309563"/>
          </a:xfrm>
        </p:grpSpPr>
        <p:sp>
          <p:nvSpPr>
            <p:cNvPr id="76" name="Freeform 851">
              <a:extLst>
                <a:ext uri="{FF2B5EF4-FFF2-40B4-BE49-F238E27FC236}">
                  <a16:creationId xmlns:a16="http://schemas.microsoft.com/office/drawing/2014/main" id="{AE279CCE-5555-475B-A7A3-7FF9B492FC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9288" y="4289425"/>
              <a:ext cx="34925" cy="269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4"/>
                </a:cxn>
                <a:cxn ang="0">
                  <a:pos x="15" y="119"/>
                </a:cxn>
              </a:cxnLst>
              <a:rect l="0" t="0" r="r" b="b"/>
              <a:pathLst>
                <a:path w="15" h="119">
                  <a:moveTo>
                    <a:pt x="0" y="0"/>
                  </a:move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1" y="118"/>
                    <a:pt x="15" y="119"/>
                  </a:cubicBez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7" name="Freeform 856">
              <a:extLst>
                <a:ext uri="{FF2B5EF4-FFF2-40B4-BE49-F238E27FC236}">
                  <a16:creationId xmlns:a16="http://schemas.microsoft.com/office/drawing/2014/main" id="{9F0AA627-EC48-416E-AEF0-5B1A3DC9C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913" y="4265613"/>
              <a:ext cx="392113" cy="3063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3" y="15"/>
                </a:cxn>
                <a:cxn ang="0">
                  <a:pos x="3" y="16"/>
                </a:cxn>
                <a:cxn ang="0">
                  <a:pos x="3" y="112"/>
                </a:cxn>
                <a:cxn ang="0">
                  <a:pos x="28" y="131"/>
                </a:cxn>
                <a:cxn ang="0">
                  <a:pos x="146" y="131"/>
                </a:cxn>
                <a:cxn ang="0">
                  <a:pos x="173" y="113"/>
                </a:cxn>
                <a:cxn ang="0">
                  <a:pos x="173" y="46"/>
                </a:cxn>
              </a:cxnLst>
              <a:rect l="0" t="0" r="r" b="b"/>
              <a:pathLst>
                <a:path w="173" h="135">
                  <a:moveTo>
                    <a:pt x="18" y="0"/>
                  </a:moveTo>
                  <a:cubicBezTo>
                    <a:pt x="1" y="2"/>
                    <a:pt x="3" y="15"/>
                    <a:pt x="3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0" y="129"/>
                    <a:pt x="28" y="131"/>
                  </a:cubicBezTo>
                  <a:cubicBezTo>
                    <a:pt x="146" y="131"/>
                    <a:pt x="146" y="131"/>
                    <a:pt x="146" y="131"/>
                  </a:cubicBezTo>
                  <a:cubicBezTo>
                    <a:pt x="146" y="131"/>
                    <a:pt x="173" y="135"/>
                    <a:pt x="173" y="113"/>
                  </a:cubicBezTo>
                  <a:cubicBezTo>
                    <a:pt x="173" y="91"/>
                    <a:pt x="173" y="46"/>
                    <a:pt x="173" y="46"/>
                  </a:cubicBez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8" name="Line 857">
              <a:extLst>
                <a:ext uri="{FF2B5EF4-FFF2-40B4-BE49-F238E27FC236}">
                  <a16:creationId xmlns:a16="http://schemas.microsoft.com/office/drawing/2014/main" id="{2D604934-FB15-4D5D-9DF4-82F4E66714A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25600" y="4264819"/>
              <a:ext cx="262731" cy="794"/>
            </a:xfrm>
            <a:prstGeom prst="line">
              <a:avLst/>
            </a:pr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9" name="Freeform 858">
              <a:extLst>
                <a:ext uri="{FF2B5EF4-FFF2-40B4-BE49-F238E27FC236}">
                  <a16:creationId xmlns:a16="http://schemas.microsoft.com/office/drawing/2014/main" id="{894DDFD0-ECD9-4D24-829E-C494DF30E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8331" y="4262438"/>
              <a:ext cx="36000" cy="381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16"/>
                </a:cxn>
                <a:cxn ang="0">
                  <a:pos x="15" y="1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cubicBezTo>
                    <a:pt x="17" y="3"/>
                    <a:pt x="15" y="16"/>
                    <a:pt x="15" y="16"/>
                  </a:cubicBezTo>
                  <a:cubicBezTo>
                    <a:pt x="15" y="17"/>
                    <a:pt x="15" y="17"/>
                    <a:pt x="15" y="17"/>
                  </a:cubicBez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0" name="Freeform 859">
              <a:extLst>
                <a:ext uri="{FF2B5EF4-FFF2-40B4-BE49-F238E27FC236}">
                  <a16:creationId xmlns:a16="http://schemas.microsoft.com/office/drawing/2014/main" id="{B4D13671-AD25-40FA-AFC7-8327B1A21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163" y="4414838"/>
              <a:ext cx="71438" cy="117475"/>
            </a:xfrm>
            <a:custGeom>
              <a:avLst/>
              <a:gdLst/>
              <a:ahLst/>
              <a:cxnLst>
                <a:cxn ang="0">
                  <a:pos x="30" y="38"/>
                </a:cxn>
                <a:cxn ang="0">
                  <a:pos x="26" y="52"/>
                </a:cxn>
                <a:cxn ang="0">
                  <a:pos x="5" y="52"/>
                </a:cxn>
                <a:cxn ang="0">
                  <a:pos x="1" y="38"/>
                </a:cxn>
                <a:cxn ang="0">
                  <a:pos x="1" y="14"/>
                </a:cxn>
                <a:cxn ang="0">
                  <a:pos x="5" y="0"/>
                </a:cxn>
                <a:cxn ang="0">
                  <a:pos x="26" y="0"/>
                </a:cxn>
                <a:cxn ang="0">
                  <a:pos x="30" y="14"/>
                </a:cxn>
                <a:cxn ang="0">
                  <a:pos x="30" y="38"/>
                </a:cxn>
              </a:cxnLst>
              <a:rect l="0" t="0" r="r" b="b"/>
              <a:pathLst>
                <a:path w="31" h="52">
                  <a:moveTo>
                    <a:pt x="30" y="38"/>
                  </a:moveTo>
                  <a:cubicBezTo>
                    <a:pt x="30" y="48"/>
                    <a:pt x="31" y="52"/>
                    <a:pt x="26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0" y="52"/>
                    <a:pt x="1" y="48"/>
                    <a:pt x="1" y="38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4"/>
                    <a:pt x="0" y="0"/>
                    <a:pt x="5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1" y="0"/>
                    <a:pt x="30" y="4"/>
                    <a:pt x="30" y="14"/>
                  </a:cubicBezTo>
                  <a:lnTo>
                    <a:pt x="30" y="38"/>
                  </a:lnTo>
                  <a:close/>
                </a:path>
              </a:pathLst>
            </a:custGeom>
            <a:solidFill>
              <a:srgbClr val="1A171B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0CD611F2-9FD6-481C-A200-DA46E9EC2C10}"/>
                </a:ext>
              </a:extLst>
            </p:cNvPr>
            <p:cNvCxnSpPr/>
            <p:nvPr/>
          </p:nvCxnSpPr>
          <p:spPr>
            <a:xfrm>
              <a:off x="1636846" y="4505325"/>
              <a:ext cx="144000" cy="0"/>
            </a:xfrm>
            <a:prstGeom prst="line">
              <a:avLst/>
            </a:prstGeom>
            <a:ln w="6350" cap="rnd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408CC7BD-6BC0-4BA1-A07D-896983CB02E6}"/>
                </a:ext>
              </a:extLst>
            </p:cNvPr>
            <p:cNvCxnSpPr/>
            <p:nvPr/>
          </p:nvCxnSpPr>
          <p:spPr>
            <a:xfrm>
              <a:off x="1636846" y="4443335"/>
              <a:ext cx="144000" cy="0"/>
            </a:xfrm>
            <a:prstGeom prst="line">
              <a:avLst/>
            </a:prstGeom>
            <a:ln w="6350" cap="rnd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7D2682F-38E4-4A57-AC60-2C7781E95FF2}"/>
                </a:ext>
              </a:extLst>
            </p:cNvPr>
            <p:cNvCxnSpPr/>
            <p:nvPr/>
          </p:nvCxnSpPr>
          <p:spPr>
            <a:xfrm>
              <a:off x="1636846" y="4381345"/>
              <a:ext cx="230400" cy="0"/>
            </a:xfrm>
            <a:prstGeom prst="line">
              <a:avLst/>
            </a:prstGeom>
            <a:ln w="6350" cap="rnd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D3981BC8-35B5-499F-A8A9-19DEB332FA13}"/>
                </a:ext>
              </a:extLst>
            </p:cNvPr>
            <p:cNvCxnSpPr/>
            <p:nvPr/>
          </p:nvCxnSpPr>
          <p:spPr>
            <a:xfrm>
              <a:off x="1636846" y="4319355"/>
              <a:ext cx="230400" cy="0"/>
            </a:xfrm>
            <a:prstGeom prst="line">
              <a:avLst/>
            </a:prstGeom>
            <a:ln w="6350" cap="rnd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Groupe 298">
            <a:extLst>
              <a:ext uri="{FF2B5EF4-FFF2-40B4-BE49-F238E27FC236}">
                <a16:creationId xmlns:a16="http://schemas.microsoft.com/office/drawing/2014/main" id="{842926FC-95A8-401D-9A66-86C51755B560}"/>
              </a:ext>
            </a:extLst>
          </p:cNvPr>
          <p:cNvGrpSpPr>
            <a:grpSpLocks noChangeAspect="1"/>
          </p:cNvGrpSpPr>
          <p:nvPr/>
        </p:nvGrpSpPr>
        <p:grpSpPr>
          <a:xfrm>
            <a:off x="4352461" y="2163279"/>
            <a:ext cx="600539" cy="365760"/>
            <a:chOff x="7621588" y="4229101"/>
            <a:chExt cx="385763" cy="234950"/>
          </a:xfrm>
        </p:grpSpPr>
        <p:sp>
          <p:nvSpPr>
            <p:cNvPr id="86" name="Freeform 737">
              <a:extLst>
                <a:ext uri="{FF2B5EF4-FFF2-40B4-BE49-F238E27FC236}">
                  <a16:creationId xmlns:a16="http://schemas.microsoft.com/office/drawing/2014/main" id="{8D1AE98A-01FC-4856-96C6-34192CA4F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1588" y="4229101"/>
              <a:ext cx="385763" cy="1920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2" y="60"/>
                </a:cxn>
                <a:cxn ang="0">
                  <a:pos x="122" y="121"/>
                </a:cxn>
                <a:cxn ang="0">
                  <a:pos x="183" y="61"/>
                </a:cxn>
                <a:cxn ang="0">
                  <a:pos x="243" y="0"/>
                </a:cxn>
              </a:cxnLst>
              <a:rect l="0" t="0" r="r" b="b"/>
              <a:pathLst>
                <a:path w="243" h="121">
                  <a:moveTo>
                    <a:pt x="0" y="0"/>
                  </a:moveTo>
                  <a:lnTo>
                    <a:pt x="62" y="60"/>
                  </a:lnTo>
                  <a:lnTo>
                    <a:pt x="122" y="121"/>
                  </a:lnTo>
                  <a:lnTo>
                    <a:pt x="183" y="61"/>
                  </a:lnTo>
                  <a:lnTo>
                    <a:pt x="243" y="0"/>
                  </a:lnTo>
                </a:path>
              </a:pathLst>
            </a:cu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7" name="Line 738">
              <a:extLst>
                <a:ext uri="{FF2B5EF4-FFF2-40B4-BE49-F238E27FC236}">
                  <a16:creationId xmlns:a16="http://schemas.microsoft.com/office/drawing/2014/main" id="{C085B60F-7E9C-42BD-82C1-7C62760B6DB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621588" y="4324351"/>
              <a:ext cx="98425" cy="139700"/>
            </a:xfrm>
            <a:prstGeom prst="line">
              <a:avLst/>
            </a:pr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8" name="Line 739">
              <a:extLst>
                <a:ext uri="{FF2B5EF4-FFF2-40B4-BE49-F238E27FC236}">
                  <a16:creationId xmlns:a16="http://schemas.microsoft.com/office/drawing/2014/main" id="{9D746041-396F-4A92-B807-349007FA37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12100" y="4325938"/>
              <a:ext cx="95250" cy="138113"/>
            </a:xfrm>
            <a:prstGeom prst="line">
              <a:avLst/>
            </a:pr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9" name="Freeform 740">
              <a:extLst>
                <a:ext uri="{FF2B5EF4-FFF2-40B4-BE49-F238E27FC236}">
                  <a16:creationId xmlns:a16="http://schemas.microsoft.com/office/drawing/2014/main" id="{620C873A-B7D5-4E17-8CA3-2962EA597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1588" y="4229101"/>
              <a:ext cx="385763" cy="234950"/>
            </a:xfrm>
            <a:custGeom>
              <a:avLst/>
              <a:gdLst/>
              <a:ahLst/>
              <a:cxnLst>
                <a:cxn ang="0">
                  <a:pos x="203" y="148"/>
                </a:cxn>
                <a:cxn ang="0">
                  <a:pos x="0" y="148"/>
                </a:cxn>
                <a:cxn ang="0">
                  <a:pos x="0" y="0"/>
                </a:cxn>
                <a:cxn ang="0">
                  <a:pos x="243" y="0"/>
                </a:cxn>
                <a:cxn ang="0">
                  <a:pos x="243" y="148"/>
                </a:cxn>
              </a:cxnLst>
              <a:rect l="0" t="0" r="r" b="b"/>
              <a:pathLst>
                <a:path w="243" h="148">
                  <a:moveTo>
                    <a:pt x="203" y="148"/>
                  </a:moveTo>
                  <a:lnTo>
                    <a:pt x="0" y="148"/>
                  </a:lnTo>
                  <a:lnTo>
                    <a:pt x="0" y="0"/>
                  </a:lnTo>
                  <a:lnTo>
                    <a:pt x="243" y="0"/>
                  </a:lnTo>
                  <a:lnTo>
                    <a:pt x="243" y="148"/>
                  </a:lnTo>
                </a:path>
              </a:pathLst>
            </a:cu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02" name="Groupe 293">
            <a:extLst>
              <a:ext uri="{FF2B5EF4-FFF2-40B4-BE49-F238E27FC236}">
                <a16:creationId xmlns:a16="http://schemas.microsoft.com/office/drawing/2014/main" id="{DD578E1A-1895-4568-99E6-86B91F17979C}"/>
              </a:ext>
            </a:extLst>
          </p:cNvPr>
          <p:cNvGrpSpPr>
            <a:grpSpLocks noChangeAspect="1"/>
          </p:cNvGrpSpPr>
          <p:nvPr/>
        </p:nvGrpSpPr>
        <p:grpSpPr>
          <a:xfrm>
            <a:off x="3440790" y="2096979"/>
            <a:ext cx="501226" cy="548640"/>
            <a:chOff x="4735513" y="4983163"/>
            <a:chExt cx="352425" cy="385763"/>
          </a:xfrm>
        </p:grpSpPr>
        <p:sp>
          <p:nvSpPr>
            <p:cNvPr id="103" name="Oval 847">
              <a:extLst>
                <a:ext uri="{FF2B5EF4-FFF2-40B4-BE49-F238E27FC236}">
                  <a16:creationId xmlns:a16="http://schemas.microsoft.com/office/drawing/2014/main" id="{FFBB1E77-B045-45BE-85BC-DE77C037B2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5525" y="5018088"/>
              <a:ext cx="160338" cy="158750"/>
            </a:xfrm>
            <a:prstGeom prst="ellipse">
              <a:avLst/>
            </a:pr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4" name="Freeform 848">
              <a:extLst>
                <a:ext uri="{FF2B5EF4-FFF2-40B4-BE49-F238E27FC236}">
                  <a16:creationId xmlns:a16="http://schemas.microsoft.com/office/drawing/2014/main" id="{785C0314-EC72-4C17-800C-E41AA3959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5375" y="5154613"/>
              <a:ext cx="182563" cy="214313"/>
            </a:xfrm>
            <a:custGeom>
              <a:avLst/>
              <a:gdLst/>
              <a:ahLst/>
              <a:cxnLst>
                <a:cxn ang="0">
                  <a:pos x="31" y="95"/>
                </a:cxn>
                <a:cxn ang="0">
                  <a:pos x="0" y="26"/>
                </a:cxn>
                <a:cxn ang="0">
                  <a:pos x="46" y="0"/>
                </a:cxn>
                <a:cxn ang="0">
                  <a:pos x="80" y="71"/>
                </a:cxn>
                <a:cxn ang="0">
                  <a:pos x="47" y="64"/>
                </a:cxn>
                <a:cxn ang="0">
                  <a:pos x="31" y="95"/>
                </a:cxn>
              </a:cxnLst>
              <a:rect l="0" t="0" r="r" b="b"/>
              <a:pathLst>
                <a:path w="80" h="95">
                  <a:moveTo>
                    <a:pt x="31" y="95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34" y="27"/>
                    <a:pt x="46" y="0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47" y="64"/>
                    <a:pt x="47" y="64"/>
                    <a:pt x="47" y="64"/>
                  </a:cubicBezTo>
                  <a:lnTo>
                    <a:pt x="31" y="95"/>
                  </a:lnTo>
                  <a:close/>
                </a:path>
              </a:pathLst>
            </a:cu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5" name="Freeform 849">
              <a:extLst>
                <a:ext uri="{FF2B5EF4-FFF2-40B4-BE49-F238E27FC236}">
                  <a16:creationId xmlns:a16="http://schemas.microsoft.com/office/drawing/2014/main" id="{EB97C069-C749-4DB5-8135-299DD0609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5513" y="5162551"/>
              <a:ext cx="185738" cy="163513"/>
            </a:xfrm>
            <a:custGeom>
              <a:avLst/>
              <a:gdLst/>
              <a:ahLst/>
              <a:cxnLst>
                <a:cxn ang="0">
                  <a:pos x="48" y="72"/>
                </a:cxn>
                <a:cxn ang="0">
                  <a:pos x="82" y="22"/>
                </a:cxn>
                <a:cxn ang="0">
                  <a:pos x="37" y="0"/>
                </a:cxn>
                <a:cxn ang="0">
                  <a:pos x="0" y="52"/>
                </a:cxn>
                <a:cxn ang="0">
                  <a:pos x="33" y="48"/>
                </a:cxn>
                <a:cxn ang="0">
                  <a:pos x="48" y="72"/>
                </a:cxn>
              </a:cxnLst>
              <a:rect l="0" t="0" r="r" b="b"/>
              <a:pathLst>
                <a:path w="82" h="72">
                  <a:moveTo>
                    <a:pt x="48" y="72"/>
                  </a:move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48" y="21"/>
                    <a:pt x="37" y="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3" y="48"/>
                    <a:pt x="33" y="48"/>
                    <a:pt x="33" y="48"/>
                  </a:cubicBezTo>
                  <a:lnTo>
                    <a:pt x="48" y="72"/>
                  </a:lnTo>
                  <a:close/>
                </a:path>
              </a:pathLst>
            </a:cu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6" name="Freeform 850">
              <a:extLst>
                <a:ext uri="{FF2B5EF4-FFF2-40B4-BE49-F238E27FC236}">
                  <a16:creationId xmlns:a16="http://schemas.microsoft.com/office/drawing/2014/main" id="{30997701-16AB-4682-B29D-9AC8CB95D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4983163"/>
              <a:ext cx="228600" cy="227013"/>
            </a:xfrm>
            <a:custGeom>
              <a:avLst/>
              <a:gdLst/>
              <a:ahLst/>
              <a:cxnLst>
                <a:cxn ang="0">
                  <a:pos x="84" y="87"/>
                </a:cxn>
                <a:cxn ang="0">
                  <a:pos x="84" y="87"/>
                </a:cxn>
                <a:cxn ang="0">
                  <a:pos x="50" y="100"/>
                </a:cxn>
                <a:cxn ang="0">
                  <a:pos x="0" y="50"/>
                </a:cxn>
                <a:cxn ang="0">
                  <a:pos x="50" y="0"/>
                </a:cxn>
                <a:cxn ang="0">
                  <a:pos x="101" y="50"/>
                </a:cxn>
                <a:cxn ang="0">
                  <a:pos x="97" y="69"/>
                </a:cxn>
              </a:cxnLst>
              <a:rect l="0" t="0" r="r" b="b"/>
              <a:pathLst>
                <a:path w="101" h="100">
                  <a:moveTo>
                    <a:pt x="84" y="87"/>
                  </a:moveTo>
                  <a:cubicBezTo>
                    <a:pt x="84" y="87"/>
                    <a:pt x="84" y="87"/>
                    <a:pt x="84" y="87"/>
                  </a:cubicBezTo>
                  <a:cubicBezTo>
                    <a:pt x="75" y="95"/>
                    <a:pt x="63" y="100"/>
                    <a:pt x="50" y="100"/>
                  </a:cubicBezTo>
                  <a:cubicBezTo>
                    <a:pt x="22" y="100"/>
                    <a:pt x="0" y="78"/>
                    <a:pt x="0" y="50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8" y="0"/>
                    <a:pt x="101" y="22"/>
                    <a:pt x="101" y="50"/>
                  </a:cubicBezTo>
                  <a:cubicBezTo>
                    <a:pt x="101" y="56"/>
                    <a:pt x="99" y="63"/>
                    <a:pt x="97" y="69"/>
                  </a:cubicBezTo>
                </a:path>
              </a:pathLst>
            </a:custGeom>
            <a:noFill/>
            <a:ln w="6350" cap="rnd">
              <a:solidFill>
                <a:srgbClr val="00030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E4710175-3B30-4CED-AAED-4CD5DAFA5666}"/>
              </a:ext>
            </a:extLst>
          </p:cNvPr>
          <p:cNvSpPr/>
          <p:nvPr/>
        </p:nvSpPr>
        <p:spPr bwMode="auto">
          <a:xfrm>
            <a:off x="1147426" y="2673059"/>
            <a:ext cx="868185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 Articles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6B33724-7093-4DB4-9DA2-ED1BB5E7E373}"/>
              </a:ext>
            </a:extLst>
          </p:cNvPr>
          <p:cNvSpPr/>
          <p:nvPr/>
        </p:nvSpPr>
        <p:spPr bwMode="auto">
          <a:xfrm>
            <a:off x="2212555" y="2673059"/>
            <a:ext cx="868185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deo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883CCF32-12CE-4CF8-B1F4-5D1506A4986E}"/>
              </a:ext>
            </a:extLst>
          </p:cNvPr>
          <p:cNvSpPr/>
          <p:nvPr/>
        </p:nvSpPr>
        <p:spPr bwMode="auto">
          <a:xfrm>
            <a:off x="3038216" y="2673059"/>
            <a:ext cx="1280925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mificatio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iz, Polls, Flashcard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8B76E45D-8D6A-4B11-B20F-D50A8042A5DC}"/>
              </a:ext>
            </a:extLst>
          </p:cNvPr>
          <p:cNvSpPr/>
          <p:nvPr/>
        </p:nvSpPr>
        <p:spPr bwMode="auto">
          <a:xfrm>
            <a:off x="4228835" y="2673059"/>
            <a:ext cx="868185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sletter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D22AF23-8E4A-4203-99D3-ED78EC0F68DB}"/>
              </a:ext>
            </a:extLst>
          </p:cNvPr>
          <p:cNvSpPr/>
          <p:nvPr/>
        </p:nvSpPr>
        <p:spPr bwMode="auto">
          <a:xfrm>
            <a:off x="6177170" y="2661092"/>
            <a:ext cx="1008140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A1A4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mificatio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active Gam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9F7A7B48-55BA-4F95-99CF-53EDA8E313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1572" y="2065139"/>
            <a:ext cx="551089" cy="548640"/>
          </a:xfrm>
          <a:prstGeom prst="rect">
            <a:avLst/>
          </a:prstGeom>
          <a:ln w="6350">
            <a:noFill/>
          </a:ln>
        </p:spPr>
      </p:pic>
      <p:sp>
        <p:nvSpPr>
          <p:cNvPr id="158" name="Rectangle 157">
            <a:extLst>
              <a:ext uri="{FF2B5EF4-FFF2-40B4-BE49-F238E27FC236}">
                <a16:creationId xmlns:a16="http://schemas.microsoft.com/office/drawing/2014/main" id="{B89799EE-A9AB-4115-9598-2B32FAF87D25}"/>
              </a:ext>
            </a:extLst>
          </p:cNvPr>
          <p:cNvSpPr/>
          <p:nvPr/>
        </p:nvSpPr>
        <p:spPr bwMode="auto">
          <a:xfrm>
            <a:off x="7689380" y="2661092"/>
            <a:ext cx="1069194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A1A4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iginal Conten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dcast, Vide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59" name="Groupe 291">
            <a:extLst>
              <a:ext uri="{FF2B5EF4-FFF2-40B4-BE49-F238E27FC236}">
                <a16:creationId xmlns:a16="http://schemas.microsoft.com/office/drawing/2014/main" id="{4C871AEB-6C99-4496-A89A-87E91437DFBE}"/>
              </a:ext>
            </a:extLst>
          </p:cNvPr>
          <p:cNvGrpSpPr>
            <a:grpSpLocks noChangeAspect="1"/>
          </p:cNvGrpSpPr>
          <p:nvPr/>
        </p:nvGrpSpPr>
        <p:grpSpPr>
          <a:xfrm>
            <a:off x="6721942" y="3626176"/>
            <a:ext cx="247338" cy="457200"/>
            <a:chOff x="2962275" y="4994276"/>
            <a:chExt cx="209550" cy="387350"/>
          </a:xfrm>
        </p:grpSpPr>
        <p:sp>
          <p:nvSpPr>
            <p:cNvPr id="160" name="Freeform 839">
              <a:extLst>
                <a:ext uri="{FF2B5EF4-FFF2-40B4-BE49-F238E27FC236}">
                  <a16:creationId xmlns:a16="http://schemas.microsoft.com/office/drawing/2014/main" id="{5D515F83-690B-40F6-B953-D5EF06AFB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2275" y="4994276"/>
              <a:ext cx="209550" cy="387350"/>
            </a:xfrm>
            <a:custGeom>
              <a:avLst/>
              <a:gdLst/>
              <a:ahLst/>
              <a:cxnLst>
                <a:cxn ang="0">
                  <a:pos x="71" y="170"/>
                </a:cxn>
                <a:cxn ang="0">
                  <a:pos x="21" y="170"/>
                </a:cxn>
                <a:cxn ang="0">
                  <a:pos x="0" y="149"/>
                </a:cxn>
                <a:cxn ang="0">
                  <a:pos x="0" y="21"/>
                </a:cxn>
                <a:cxn ang="0">
                  <a:pos x="21" y="0"/>
                </a:cxn>
                <a:cxn ang="0">
                  <a:pos x="71" y="0"/>
                </a:cxn>
                <a:cxn ang="0">
                  <a:pos x="92" y="21"/>
                </a:cxn>
                <a:cxn ang="0">
                  <a:pos x="92" y="169"/>
                </a:cxn>
              </a:cxnLst>
              <a:rect l="0" t="0" r="r" b="b"/>
              <a:pathLst>
                <a:path w="92" h="170">
                  <a:moveTo>
                    <a:pt x="71" y="170"/>
                  </a:moveTo>
                  <a:cubicBezTo>
                    <a:pt x="21" y="170"/>
                    <a:pt x="21" y="170"/>
                    <a:pt x="21" y="170"/>
                  </a:cubicBezTo>
                  <a:cubicBezTo>
                    <a:pt x="10" y="170"/>
                    <a:pt x="0" y="160"/>
                    <a:pt x="0" y="149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3" y="0"/>
                    <a:pt x="92" y="9"/>
                    <a:pt x="92" y="21"/>
                  </a:cubicBezTo>
                  <a:cubicBezTo>
                    <a:pt x="92" y="169"/>
                    <a:pt x="92" y="169"/>
                    <a:pt x="92" y="169"/>
                  </a:cubicBezTo>
                </a:path>
              </a:pathLst>
            </a:cu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1" name="Freeform 840">
              <a:extLst>
                <a:ext uri="{FF2B5EF4-FFF2-40B4-BE49-F238E27FC236}">
                  <a16:creationId xmlns:a16="http://schemas.microsoft.com/office/drawing/2014/main" id="{D4472670-49B9-4C71-8A2C-092473846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025" y="5026026"/>
              <a:ext cx="146050" cy="355600"/>
            </a:xfrm>
            <a:custGeom>
              <a:avLst/>
              <a:gdLst/>
              <a:ahLst/>
              <a:cxnLst>
                <a:cxn ang="0">
                  <a:pos x="23" y="138"/>
                </a:cxn>
                <a:cxn ang="0">
                  <a:pos x="32" y="147"/>
                </a:cxn>
                <a:cxn ang="0">
                  <a:pos x="41" y="138"/>
                </a:cxn>
                <a:cxn ang="0">
                  <a:pos x="32" y="128"/>
                </a:cxn>
                <a:cxn ang="0">
                  <a:pos x="7" y="128"/>
                </a:cxn>
                <a:cxn ang="0">
                  <a:pos x="0" y="121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57" y="0"/>
                </a:cxn>
                <a:cxn ang="0">
                  <a:pos x="64" y="7"/>
                </a:cxn>
                <a:cxn ang="0">
                  <a:pos x="64" y="149"/>
                </a:cxn>
                <a:cxn ang="0">
                  <a:pos x="57" y="156"/>
                </a:cxn>
              </a:cxnLst>
              <a:rect l="0" t="0" r="r" b="b"/>
              <a:pathLst>
                <a:path w="64" h="156">
                  <a:moveTo>
                    <a:pt x="23" y="138"/>
                  </a:moveTo>
                  <a:cubicBezTo>
                    <a:pt x="23" y="143"/>
                    <a:pt x="27" y="147"/>
                    <a:pt x="32" y="147"/>
                  </a:cubicBezTo>
                  <a:cubicBezTo>
                    <a:pt x="37" y="147"/>
                    <a:pt x="41" y="143"/>
                    <a:pt x="41" y="138"/>
                  </a:cubicBezTo>
                  <a:cubicBezTo>
                    <a:pt x="41" y="133"/>
                    <a:pt x="37" y="128"/>
                    <a:pt x="32" y="128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3" y="128"/>
                    <a:pt x="0" y="125"/>
                    <a:pt x="0" y="12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1" y="0"/>
                    <a:pt x="64" y="3"/>
                    <a:pt x="64" y="7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153"/>
                    <a:pt x="61" y="156"/>
                    <a:pt x="57" y="156"/>
                  </a:cubicBezTo>
                </a:path>
              </a:pathLst>
            </a:cu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62" name="Groupe 117">
            <a:extLst>
              <a:ext uri="{FF2B5EF4-FFF2-40B4-BE49-F238E27FC236}">
                <a16:creationId xmlns:a16="http://schemas.microsoft.com/office/drawing/2014/main" id="{CA264E08-4256-4FE1-BF0B-E7FBD19246F2}"/>
              </a:ext>
            </a:extLst>
          </p:cNvPr>
          <p:cNvGrpSpPr>
            <a:grpSpLocks noChangeAspect="1"/>
          </p:cNvGrpSpPr>
          <p:nvPr/>
        </p:nvGrpSpPr>
        <p:grpSpPr>
          <a:xfrm>
            <a:off x="1856570" y="3573020"/>
            <a:ext cx="848571" cy="540000"/>
            <a:chOff x="2643188" y="1084263"/>
            <a:chExt cx="366713" cy="233363"/>
          </a:xfrm>
        </p:grpSpPr>
        <p:sp>
          <p:nvSpPr>
            <p:cNvPr id="163" name="Freeform 575">
              <a:extLst>
                <a:ext uri="{FF2B5EF4-FFF2-40B4-BE49-F238E27FC236}">
                  <a16:creationId xmlns:a16="http://schemas.microsoft.com/office/drawing/2014/main" id="{372F952D-856A-47AF-A904-F28E4C489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1087438"/>
              <a:ext cx="366713" cy="230188"/>
            </a:xfrm>
            <a:custGeom>
              <a:avLst/>
              <a:gdLst/>
              <a:ahLst/>
              <a:cxnLst>
                <a:cxn ang="0">
                  <a:pos x="189" y="106"/>
                </a:cxn>
                <a:cxn ang="0">
                  <a:pos x="176" y="119"/>
                </a:cxn>
                <a:cxn ang="0">
                  <a:pos x="12" y="119"/>
                </a:cxn>
                <a:cxn ang="0">
                  <a:pos x="0" y="106"/>
                </a:cxn>
                <a:cxn ang="0">
                  <a:pos x="172" y="106"/>
                </a:cxn>
                <a:cxn ang="0">
                  <a:pos x="172" y="0"/>
                </a:cxn>
                <a:cxn ang="0">
                  <a:pos x="17" y="0"/>
                </a:cxn>
                <a:cxn ang="0">
                  <a:pos x="17" y="91"/>
                </a:cxn>
              </a:cxnLst>
              <a:rect l="0" t="0" r="r" b="b"/>
              <a:pathLst>
                <a:path w="189" h="119">
                  <a:moveTo>
                    <a:pt x="189" y="106"/>
                  </a:moveTo>
                  <a:cubicBezTo>
                    <a:pt x="189" y="113"/>
                    <a:pt x="184" y="119"/>
                    <a:pt x="176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5" y="119"/>
                    <a:pt x="0" y="113"/>
                    <a:pt x="0" y="106"/>
                  </a:cubicBezTo>
                  <a:cubicBezTo>
                    <a:pt x="172" y="106"/>
                    <a:pt x="172" y="106"/>
                    <a:pt x="172" y="106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91"/>
                    <a:pt x="17" y="91"/>
                    <a:pt x="17" y="91"/>
                  </a:cubicBezTo>
                </a:path>
              </a:pathLst>
            </a:cu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64" name="Freeform 576">
              <a:extLst>
                <a:ext uri="{FF2B5EF4-FFF2-40B4-BE49-F238E27FC236}">
                  <a16:creationId xmlns:a16="http://schemas.microsoft.com/office/drawing/2014/main" id="{DA68A5EC-C64D-47F0-8A1F-896680918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300" y="1133475"/>
              <a:ext cx="85725" cy="139700"/>
            </a:xfrm>
            <a:custGeom>
              <a:avLst/>
              <a:gdLst/>
              <a:ahLst/>
              <a:cxnLst>
                <a:cxn ang="0">
                  <a:pos x="33" y="41"/>
                </a:cxn>
                <a:cxn ang="0">
                  <a:pos x="44" y="22"/>
                </a:cxn>
                <a:cxn ang="0">
                  <a:pos x="22" y="0"/>
                </a:cxn>
                <a:cxn ang="0">
                  <a:pos x="0" y="22"/>
                </a:cxn>
                <a:cxn ang="0">
                  <a:pos x="12" y="41"/>
                </a:cxn>
                <a:cxn ang="0">
                  <a:pos x="12" y="52"/>
                </a:cxn>
                <a:cxn ang="0">
                  <a:pos x="33" y="52"/>
                </a:cxn>
                <a:cxn ang="0">
                  <a:pos x="33" y="64"/>
                </a:cxn>
                <a:cxn ang="0">
                  <a:pos x="28" y="69"/>
                </a:cxn>
                <a:cxn ang="0">
                  <a:pos x="28" y="69"/>
                </a:cxn>
                <a:cxn ang="0">
                  <a:pos x="22" y="72"/>
                </a:cxn>
                <a:cxn ang="0">
                  <a:pos x="16" y="69"/>
                </a:cxn>
                <a:cxn ang="0">
                  <a:pos x="16" y="69"/>
                </a:cxn>
                <a:cxn ang="0">
                  <a:pos x="12" y="64"/>
                </a:cxn>
                <a:cxn ang="0">
                  <a:pos x="12" y="60"/>
                </a:cxn>
              </a:cxnLst>
              <a:rect l="0" t="0" r="r" b="b"/>
              <a:pathLst>
                <a:path w="44" h="72">
                  <a:moveTo>
                    <a:pt x="33" y="41"/>
                  </a:moveTo>
                  <a:cubicBezTo>
                    <a:pt x="40" y="38"/>
                    <a:pt x="44" y="30"/>
                    <a:pt x="44" y="22"/>
                  </a:cubicBezTo>
                  <a:cubicBezTo>
                    <a:pt x="44" y="10"/>
                    <a:pt x="35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0"/>
                    <a:pt x="5" y="38"/>
                    <a:pt x="12" y="41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6"/>
                    <a:pt x="31" y="68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71"/>
                    <a:pt x="26" y="72"/>
                    <a:pt x="22" y="72"/>
                  </a:cubicBezTo>
                  <a:cubicBezTo>
                    <a:pt x="19" y="72"/>
                    <a:pt x="16" y="71"/>
                    <a:pt x="16" y="69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68"/>
                    <a:pt x="12" y="66"/>
                    <a:pt x="12" y="64"/>
                  </a:cubicBezTo>
                  <a:cubicBezTo>
                    <a:pt x="12" y="60"/>
                    <a:pt x="12" y="60"/>
                    <a:pt x="12" y="60"/>
                  </a:cubicBezTo>
                </a:path>
              </a:pathLst>
            </a:cu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65" name="Freeform 577">
              <a:extLst>
                <a:ext uri="{FF2B5EF4-FFF2-40B4-BE49-F238E27FC236}">
                  <a16:creationId xmlns:a16="http://schemas.microsoft.com/office/drawing/2014/main" id="{390FE661-AB71-403D-AE0F-F2E0E57F9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146175"/>
              <a:ext cx="31750" cy="3175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0"/>
                </a:cxn>
              </a:cxnLst>
              <a:rect l="0" t="0" r="r" b="b"/>
              <a:pathLst>
                <a:path w="16" h="16">
                  <a:moveTo>
                    <a:pt x="0" y="16"/>
                  </a:moveTo>
                  <a:cubicBezTo>
                    <a:pt x="0" y="7"/>
                    <a:pt x="7" y="0"/>
                    <a:pt x="16" y="0"/>
                  </a:cubicBezTo>
                </a:path>
              </a:pathLst>
            </a:cu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66" name="Line 578">
              <a:extLst>
                <a:ext uri="{FF2B5EF4-FFF2-40B4-BE49-F238E27FC236}">
                  <a16:creationId xmlns:a16="http://schemas.microsoft.com/office/drawing/2014/main" id="{AD5AE458-0EFA-4554-B492-5E912D00E5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24163" y="1084263"/>
              <a:ext cx="1588" cy="33338"/>
            </a:xfrm>
            <a:prstGeom prst="line">
              <a:avLst/>
            </a:pr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67" name="Line 579">
              <a:extLst>
                <a:ext uri="{FF2B5EF4-FFF2-40B4-BE49-F238E27FC236}">
                  <a16:creationId xmlns:a16="http://schemas.microsoft.com/office/drawing/2014/main" id="{93269119-2EF5-4849-8EEA-3270153070B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746375" y="1128713"/>
              <a:ext cx="26988" cy="15875"/>
            </a:xfrm>
            <a:prstGeom prst="line">
              <a:avLst/>
            </a:pr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68" name="Line 580">
              <a:extLst>
                <a:ext uri="{FF2B5EF4-FFF2-40B4-BE49-F238E27FC236}">
                  <a16:creationId xmlns:a16="http://schemas.microsoft.com/office/drawing/2014/main" id="{C7360F4E-2F58-4953-BC66-9CC234634D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44788" y="1204913"/>
              <a:ext cx="26988" cy="15875"/>
            </a:xfrm>
            <a:prstGeom prst="line">
              <a:avLst/>
            </a:pr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69" name="Line 581">
              <a:extLst>
                <a:ext uri="{FF2B5EF4-FFF2-40B4-BE49-F238E27FC236}">
                  <a16:creationId xmlns:a16="http://schemas.microsoft.com/office/drawing/2014/main" id="{230D4899-3E4F-412C-A220-36D3B8AFBE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74963" y="1206500"/>
              <a:ext cx="26988" cy="15875"/>
            </a:xfrm>
            <a:prstGeom prst="line">
              <a:avLst/>
            </a:pr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70" name="Line 582">
              <a:extLst>
                <a:ext uri="{FF2B5EF4-FFF2-40B4-BE49-F238E27FC236}">
                  <a16:creationId xmlns:a16="http://schemas.microsoft.com/office/drawing/2014/main" id="{5CCFA4C2-17ED-4420-8B20-D209FA86FC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74963" y="1131888"/>
              <a:ext cx="26988" cy="14288"/>
            </a:xfrm>
            <a:prstGeom prst="line">
              <a:avLst/>
            </a:prstGeom>
            <a:noFill/>
            <a:ln w="635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171" name="Groupe 574">
            <a:extLst>
              <a:ext uri="{FF2B5EF4-FFF2-40B4-BE49-F238E27FC236}">
                <a16:creationId xmlns:a16="http://schemas.microsoft.com/office/drawing/2014/main" id="{5F2B1033-C675-4805-9FE4-97BE2494825A}"/>
              </a:ext>
            </a:extLst>
          </p:cNvPr>
          <p:cNvGrpSpPr>
            <a:grpSpLocks noChangeAspect="1"/>
          </p:cNvGrpSpPr>
          <p:nvPr/>
        </p:nvGrpSpPr>
        <p:grpSpPr>
          <a:xfrm>
            <a:off x="2998365" y="3619840"/>
            <a:ext cx="277217" cy="457200"/>
            <a:chOff x="4446588" y="1770063"/>
            <a:chExt cx="212725" cy="350838"/>
          </a:xfrm>
        </p:grpSpPr>
        <p:sp>
          <p:nvSpPr>
            <p:cNvPr id="172" name="Freeform 435">
              <a:extLst>
                <a:ext uri="{FF2B5EF4-FFF2-40B4-BE49-F238E27FC236}">
                  <a16:creationId xmlns:a16="http://schemas.microsoft.com/office/drawing/2014/main" id="{AC34ACBE-55CF-40A3-8F85-06900A6C4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6588" y="1770063"/>
              <a:ext cx="212725" cy="350838"/>
            </a:xfrm>
            <a:custGeom>
              <a:avLst/>
              <a:gdLst/>
              <a:ahLst/>
              <a:cxnLst>
                <a:cxn ang="0">
                  <a:pos x="110" y="171"/>
                </a:cxn>
                <a:cxn ang="0">
                  <a:pos x="110" y="9"/>
                </a:cxn>
                <a:cxn ang="0">
                  <a:pos x="99" y="0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71"/>
                </a:cxn>
                <a:cxn ang="0">
                  <a:pos x="10" y="181"/>
                </a:cxn>
                <a:cxn ang="0">
                  <a:pos x="89" y="181"/>
                </a:cxn>
                <a:cxn ang="0">
                  <a:pos x="99" y="171"/>
                </a:cxn>
                <a:cxn ang="0">
                  <a:pos x="99" y="19"/>
                </a:cxn>
                <a:cxn ang="0">
                  <a:pos x="89" y="9"/>
                </a:cxn>
                <a:cxn ang="0">
                  <a:pos x="21" y="9"/>
                </a:cxn>
                <a:cxn ang="0">
                  <a:pos x="10" y="19"/>
                </a:cxn>
                <a:cxn ang="0">
                  <a:pos x="10" y="143"/>
                </a:cxn>
                <a:cxn ang="0">
                  <a:pos x="21" y="152"/>
                </a:cxn>
                <a:cxn ang="0">
                  <a:pos x="83" y="152"/>
                </a:cxn>
              </a:cxnLst>
              <a:rect l="0" t="0" r="r" b="b"/>
              <a:pathLst>
                <a:path w="110" h="181">
                  <a:moveTo>
                    <a:pt x="110" y="171"/>
                  </a:moveTo>
                  <a:cubicBezTo>
                    <a:pt x="110" y="9"/>
                    <a:pt x="110" y="9"/>
                    <a:pt x="110" y="9"/>
                  </a:cubicBezTo>
                  <a:cubicBezTo>
                    <a:pt x="110" y="5"/>
                    <a:pt x="104" y="0"/>
                    <a:pt x="9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9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6"/>
                    <a:pt x="4" y="181"/>
                    <a:pt x="10" y="181"/>
                  </a:cubicBezTo>
                  <a:cubicBezTo>
                    <a:pt x="89" y="181"/>
                    <a:pt x="89" y="181"/>
                    <a:pt x="89" y="181"/>
                  </a:cubicBezTo>
                  <a:cubicBezTo>
                    <a:pt x="95" y="181"/>
                    <a:pt x="99" y="176"/>
                    <a:pt x="99" y="171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9" y="15"/>
                    <a:pt x="95" y="9"/>
                    <a:pt x="89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0" y="14"/>
                    <a:pt x="10" y="19"/>
                  </a:cubicBezTo>
                  <a:cubicBezTo>
                    <a:pt x="10" y="143"/>
                    <a:pt x="10" y="143"/>
                    <a:pt x="10" y="143"/>
                  </a:cubicBezTo>
                  <a:cubicBezTo>
                    <a:pt x="10" y="147"/>
                    <a:pt x="15" y="152"/>
                    <a:pt x="21" y="152"/>
                  </a:cubicBezTo>
                  <a:cubicBezTo>
                    <a:pt x="83" y="152"/>
                    <a:pt x="83" y="152"/>
                    <a:pt x="83" y="152"/>
                  </a:cubicBez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3" name="Line 436">
              <a:extLst>
                <a:ext uri="{FF2B5EF4-FFF2-40B4-BE49-F238E27FC236}">
                  <a16:creationId xmlns:a16="http://schemas.microsoft.com/office/drawing/2014/main" id="{91BEC176-564F-46A8-BA0C-B9B62F4450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4688" y="2081213"/>
              <a:ext cx="122238" cy="1588"/>
            </a:xfrm>
            <a:prstGeom prst="line">
              <a:avLst/>
            </a:pr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4" name="Line 437">
              <a:extLst>
                <a:ext uri="{FF2B5EF4-FFF2-40B4-BE49-F238E27FC236}">
                  <a16:creationId xmlns:a16="http://schemas.microsoft.com/office/drawing/2014/main" id="{F94EA0F6-79F9-449B-A68C-F433CFAB4E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9938" y="2087563"/>
              <a:ext cx="1588" cy="15875"/>
            </a:xfrm>
            <a:prstGeom prst="line">
              <a:avLst/>
            </a:pr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5" name="Line 438">
              <a:extLst>
                <a:ext uri="{FF2B5EF4-FFF2-40B4-BE49-F238E27FC236}">
                  <a16:creationId xmlns:a16="http://schemas.microsoft.com/office/drawing/2014/main" id="{F4D84E7A-D2FC-4B83-9FB4-8389CDC3F2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6438" y="2087563"/>
              <a:ext cx="1588" cy="15875"/>
            </a:xfrm>
            <a:prstGeom prst="line">
              <a:avLst/>
            </a:pr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76" name="Groupe 575">
            <a:extLst>
              <a:ext uri="{FF2B5EF4-FFF2-40B4-BE49-F238E27FC236}">
                <a16:creationId xmlns:a16="http://schemas.microsoft.com/office/drawing/2014/main" id="{EFFF8782-15F3-4603-9693-847C5B8CD928}"/>
              </a:ext>
            </a:extLst>
          </p:cNvPr>
          <p:cNvGrpSpPr>
            <a:grpSpLocks noChangeAspect="1"/>
          </p:cNvGrpSpPr>
          <p:nvPr/>
        </p:nvGrpSpPr>
        <p:grpSpPr>
          <a:xfrm>
            <a:off x="3646454" y="3644980"/>
            <a:ext cx="549822" cy="387663"/>
            <a:chOff x="6324601" y="1851025"/>
            <a:chExt cx="344488" cy="242888"/>
          </a:xfrm>
        </p:grpSpPr>
        <p:sp>
          <p:nvSpPr>
            <p:cNvPr id="177" name="Freeform 511">
              <a:extLst>
                <a:ext uri="{FF2B5EF4-FFF2-40B4-BE49-F238E27FC236}">
                  <a16:creationId xmlns:a16="http://schemas.microsoft.com/office/drawing/2014/main" id="{E5D975C4-5580-449F-9C48-800EF831F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1" y="1851025"/>
              <a:ext cx="344488" cy="242888"/>
            </a:xfrm>
            <a:custGeom>
              <a:avLst/>
              <a:gdLst/>
              <a:ahLst/>
              <a:cxnLst>
                <a:cxn ang="0">
                  <a:pos x="178" y="0"/>
                </a:cxn>
                <a:cxn ang="0">
                  <a:pos x="15" y="0"/>
                </a:cxn>
                <a:cxn ang="0">
                  <a:pos x="0" y="14"/>
                </a:cxn>
                <a:cxn ang="0">
                  <a:pos x="0" y="15"/>
                </a:cxn>
                <a:cxn ang="0">
                  <a:pos x="0" y="111"/>
                </a:cxn>
                <a:cxn ang="0">
                  <a:pos x="0" y="111"/>
                </a:cxn>
                <a:cxn ang="0">
                  <a:pos x="14" y="126"/>
                </a:cxn>
                <a:cxn ang="0">
                  <a:pos x="15" y="126"/>
                </a:cxn>
                <a:cxn ang="0">
                  <a:pos x="162" y="126"/>
                </a:cxn>
                <a:cxn ang="0">
                  <a:pos x="163" y="126"/>
                </a:cxn>
                <a:cxn ang="0">
                  <a:pos x="178" y="112"/>
                </a:cxn>
                <a:cxn ang="0">
                  <a:pos x="178" y="110"/>
                </a:cxn>
                <a:cxn ang="0">
                  <a:pos x="178" y="15"/>
                </a:cxn>
              </a:cxnLst>
              <a:rect l="0" t="0" r="r" b="b"/>
              <a:pathLst>
                <a:path w="178" h="126">
                  <a:moveTo>
                    <a:pt x="178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9"/>
                    <a:pt x="6" y="126"/>
                    <a:pt x="14" y="126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62" y="126"/>
                    <a:pt x="162" y="126"/>
                    <a:pt x="162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72" y="126"/>
                    <a:pt x="178" y="120"/>
                    <a:pt x="178" y="112"/>
                  </a:cubicBezTo>
                  <a:cubicBezTo>
                    <a:pt x="178" y="110"/>
                    <a:pt x="178" y="110"/>
                    <a:pt x="178" y="110"/>
                  </a:cubicBezTo>
                  <a:cubicBezTo>
                    <a:pt x="178" y="15"/>
                    <a:pt x="178" y="15"/>
                    <a:pt x="178" y="15"/>
                  </a:cubicBez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8" name="Freeform 512">
              <a:extLst>
                <a:ext uri="{FF2B5EF4-FFF2-40B4-BE49-F238E27FC236}">
                  <a16:creationId xmlns:a16="http://schemas.microsoft.com/office/drawing/2014/main" id="{A7D8CAE4-895C-4188-9514-07C928046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7938" y="1882775"/>
              <a:ext cx="292100" cy="182563"/>
            </a:xfrm>
            <a:custGeom>
              <a:avLst/>
              <a:gdLst/>
              <a:ahLst/>
              <a:cxnLst>
                <a:cxn ang="0">
                  <a:pos x="139" y="57"/>
                </a:cxn>
                <a:cxn ang="0">
                  <a:pos x="151" y="53"/>
                </a:cxn>
                <a:cxn ang="0">
                  <a:pos x="151" y="48"/>
                </a:cxn>
                <a:cxn ang="0">
                  <a:pos x="149" y="42"/>
                </a:cxn>
                <a:cxn ang="0">
                  <a:pos x="149" y="42"/>
                </a:cxn>
                <a:cxn ang="0">
                  <a:pos x="134" y="41"/>
                </a:cxn>
                <a:cxn ang="0">
                  <a:pos x="134" y="41"/>
                </a:cxn>
                <a:cxn ang="0">
                  <a:pos x="131" y="57"/>
                </a:cxn>
                <a:cxn ang="0">
                  <a:pos x="131" y="57"/>
                </a:cxn>
                <a:cxn ang="0">
                  <a:pos x="131" y="82"/>
                </a:cxn>
                <a:cxn ang="0">
                  <a:pos x="131" y="83"/>
                </a:cxn>
                <a:cxn ang="0">
                  <a:pos x="121" y="94"/>
                </a:cxn>
                <a:cxn ang="0">
                  <a:pos x="120" y="94"/>
                </a:cxn>
                <a:cxn ang="0">
                  <a:pos x="10" y="94"/>
                </a:cxn>
                <a:cxn ang="0">
                  <a:pos x="10" y="94"/>
                </a:cxn>
                <a:cxn ang="0">
                  <a:pos x="0" y="83"/>
                </a:cxn>
                <a:cxn ang="0">
                  <a:pos x="0" y="83"/>
                </a:cxn>
                <a:cxn ang="0">
                  <a:pos x="0" y="11"/>
                </a:cxn>
                <a:cxn ang="0">
                  <a:pos x="0" y="10"/>
                </a:cxn>
                <a:cxn ang="0">
                  <a:pos x="11" y="0"/>
                </a:cxn>
                <a:cxn ang="0">
                  <a:pos x="126" y="0"/>
                </a:cxn>
                <a:cxn ang="0">
                  <a:pos x="133" y="8"/>
                </a:cxn>
                <a:cxn ang="0">
                  <a:pos x="133" y="24"/>
                </a:cxn>
              </a:cxnLst>
              <a:rect l="0" t="0" r="r" b="b"/>
              <a:pathLst>
                <a:path w="151" h="94">
                  <a:moveTo>
                    <a:pt x="139" y="57"/>
                  </a:moveTo>
                  <a:cubicBezTo>
                    <a:pt x="144" y="59"/>
                    <a:pt x="148" y="58"/>
                    <a:pt x="151" y="53"/>
                  </a:cubicBezTo>
                  <a:cubicBezTo>
                    <a:pt x="151" y="48"/>
                    <a:pt x="151" y="48"/>
                    <a:pt x="151" y="48"/>
                  </a:cubicBezTo>
                  <a:cubicBezTo>
                    <a:pt x="151" y="46"/>
                    <a:pt x="150" y="45"/>
                    <a:pt x="149" y="42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45" y="37"/>
                    <a:pt x="139" y="37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0" y="44"/>
                    <a:pt x="131" y="44"/>
                    <a:pt x="131" y="57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82"/>
                    <a:pt x="131" y="82"/>
                    <a:pt x="131" y="82"/>
                  </a:cubicBezTo>
                  <a:cubicBezTo>
                    <a:pt x="131" y="83"/>
                    <a:pt x="131" y="83"/>
                    <a:pt x="131" y="83"/>
                  </a:cubicBezTo>
                  <a:cubicBezTo>
                    <a:pt x="131" y="89"/>
                    <a:pt x="126" y="94"/>
                    <a:pt x="121" y="94"/>
                  </a:cubicBezTo>
                  <a:cubicBezTo>
                    <a:pt x="120" y="94"/>
                    <a:pt x="120" y="94"/>
                    <a:pt x="12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5" y="94"/>
                    <a:pt x="0" y="89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0" y="0"/>
                    <a:pt x="133" y="4"/>
                    <a:pt x="133" y="8"/>
                  </a:cubicBezTo>
                  <a:cubicBezTo>
                    <a:pt x="133" y="24"/>
                    <a:pt x="133" y="24"/>
                    <a:pt x="133" y="24"/>
                  </a:cubicBezTo>
                </a:path>
              </a:pathLst>
            </a:custGeom>
            <a:noFill/>
            <a:ln w="63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AF6F671-C267-4362-9FA9-4A84B8718FF6}"/>
              </a:ext>
            </a:extLst>
          </p:cNvPr>
          <p:cNvSpPr/>
          <p:nvPr/>
        </p:nvSpPr>
        <p:spPr bwMode="auto">
          <a:xfrm>
            <a:off x="2148478" y="4149100"/>
            <a:ext cx="1940402" cy="54486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ponsive Website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1AB969CB-AEF4-457B-8E85-EC3A9387C5F1}"/>
              </a:ext>
            </a:extLst>
          </p:cNvPr>
          <p:cNvCxnSpPr>
            <a:cxnSpLocks/>
          </p:cNvCxnSpPr>
          <p:nvPr/>
        </p:nvCxnSpPr>
        <p:spPr>
          <a:xfrm flipH="1">
            <a:off x="992451" y="3284980"/>
            <a:ext cx="41148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0C093D67-C39C-4078-ABBC-33B12790C9E2}"/>
              </a:ext>
            </a:extLst>
          </p:cNvPr>
          <p:cNvCxnSpPr>
            <a:cxnSpLocks/>
          </p:cNvCxnSpPr>
          <p:nvPr/>
        </p:nvCxnSpPr>
        <p:spPr>
          <a:xfrm flipH="1">
            <a:off x="992450" y="4581160"/>
            <a:ext cx="41148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A96AB237-FBFE-4C79-96C0-B5D2F09A4126}"/>
              </a:ext>
            </a:extLst>
          </p:cNvPr>
          <p:cNvCxnSpPr>
            <a:cxnSpLocks/>
          </p:cNvCxnSpPr>
          <p:nvPr/>
        </p:nvCxnSpPr>
        <p:spPr>
          <a:xfrm flipH="1">
            <a:off x="5268481" y="3284980"/>
            <a:ext cx="41148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hteck 4">
            <a:extLst>
              <a:ext uri="{FF2B5EF4-FFF2-40B4-BE49-F238E27FC236}">
                <a16:creationId xmlns:a16="http://schemas.microsoft.com/office/drawing/2014/main" id="{B126133D-86EF-42C2-8B0D-27A5C9AA9D01}"/>
              </a:ext>
            </a:extLst>
          </p:cNvPr>
          <p:cNvSpPr/>
          <p:nvPr/>
        </p:nvSpPr>
        <p:spPr>
          <a:xfrm>
            <a:off x="64083" y="2314031"/>
            <a:ext cx="917524" cy="4970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Format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189" name="Rechteck 4">
            <a:extLst>
              <a:ext uri="{FF2B5EF4-FFF2-40B4-BE49-F238E27FC236}">
                <a16:creationId xmlns:a16="http://schemas.microsoft.com/office/drawing/2014/main" id="{0D9B0E0B-1B92-471F-A181-2FE0899CA238}"/>
              </a:ext>
            </a:extLst>
          </p:cNvPr>
          <p:cNvSpPr/>
          <p:nvPr/>
        </p:nvSpPr>
        <p:spPr>
          <a:xfrm>
            <a:off x="56320" y="3717040"/>
            <a:ext cx="917524" cy="4970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Channel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190" name="Rechteck 4">
            <a:extLst>
              <a:ext uri="{FF2B5EF4-FFF2-40B4-BE49-F238E27FC236}">
                <a16:creationId xmlns:a16="http://schemas.microsoft.com/office/drawing/2014/main" id="{2C8364F4-6934-40C5-B477-D285DA2D80BA}"/>
              </a:ext>
            </a:extLst>
          </p:cNvPr>
          <p:cNvSpPr/>
          <p:nvPr/>
        </p:nvSpPr>
        <p:spPr>
          <a:xfrm>
            <a:off x="56320" y="5092261"/>
            <a:ext cx="917524" cy="4970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ources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pic>
        <p:nvPicPr>
          <p:cNvPr id="192" name="Picture 191">
            <a:extLst>
              <a:ext uri="{FF2B5EF4-FFF2-40B4-BE49-F238E27FC236}">
                <a16:creationId xmlns:a16="http://schemas.microsoft.com/office/drawing/2014/main" id="{1D125D2F-575E-4EC2-B569-EAA8A4312CE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9077" t="16048" r="28414" b="14020"/>
          <a:stretch/>
        </p:blipFill>
        <p:spPr>
          <a:xfrm>
            <a:off x="7300694" y="3626176"/>
            <a:ext cx="370549" cy="457200"/>
          </a:xfrm>
          <a:prstGeom prst="rect">
            <a:avLst/>
          </a:prstGeom>
        </p:spPr>
      </p:pic>
      <p:pic>
        <p:nvPicPr>
          <p:cNvPr id="194" name="Picture 193">
            <a:extLst>
              <a:ext uri="{FF2B5EF4-FFF2-40B4-BE49-F238E27FC236}">
                <a16:creationId xmlns:a16="http://schemas.microsoft.com/office/drawing/2014/main" id="{9A3BE3CD-AE80-48CA-9655-3A4BEECE9B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3434" y="3692135"/>
            <a:ext cx="365760" cy="365760"/>
          </a:xfrm>
          <a:prstGeom prst="rect">
            <a:avLst/>
          </a:prstGeom>
        </p:spPr>
      </p:pic>
      <p:sp>
        <p:nvSpPr>
          <p:cNvPr id="195" name="Rectangle 194">
            <a:extLst>
              <a:ext uri="{FF2B5EF4-FFF2-40B4-BE49-F238E27FC236}">
                <a16:creationId xmlns:a16="http://schemas.microsoft.com/office/drawing/2014/main" id="{9CA13DF8-1617-48F1-A364-F854129E3007}"/>
              </a:ext>
            </a:extLst>
          </p:cNvPr>
          <p:cNvSpPr/>
          <p:nvPr/>
        </p:nvSpPr>
        <p:spPr bwMode="auto">
          <a:xfrm>
            <a:off x="6249180" y="4149100"/>
            <a:ext cx="1940402" cy="54486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bile Apps</a:t>
            </a: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44A466A9-F68D-4F2A-AFBE-8352FD8F5101}"/>
              </a:ext>
            </a:extLst>
          </p:cNvPr>
          <p:cNvCxnSpPr>
            <a:cxnSpLocks/>
          </p:cNvCxnSpPr>
          <p:nvPr/>
        </p:nvCxnSpPr>
        <p:spPr>
          <a:xfrm flipH="1">
            <a:off x="5268480" y="4581160"/>
            <a:ext cx="41148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Rectangle 195">
            <a:extLst>
              <a:ext uri="{FF2B5EF4-FFF2-40B4-BE49-F238E27FC236}">
                <a16:creationId xmlns:a16="http://schemas.microsoft.com/office/drawing/2014/main" id="{21F3B4F8-55BB-4B88-9F9B-EFF75F745046}"/>
              </a:ext>
            </a:extLst>
          </p:cNvPr>
          <p:cNvSpPr/>
          <p:nvPr/>
        </p:nvSpPr>
        <p:spPr bwMode="auto">
          <a:xfrm>
            <a:off x="5529080" y="5685512"/>
            <a:ext cx="868185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A1A4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ndic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73C4D4DB-77C7-4248-A228-AD6438F40869}"/>
              </a:ext>
            </a:extLst>
          </p:cNvPr>
          <p:cNvSpPr/>
          <p:nvPr/>
        </p:nvSpPr>
        <p:spPr bwMode="auto">
          <a:xfrm>
            <a:off x="6609230" y="5673545"/>
            <a:ext cx="1157585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A1A4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ner Source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6C8FAB37-FBDA-4D83-A581-0FD91A534ACD}"/>
              </a:ext>
            </a:extLst>
          </p:cNvPr>
          <p:cNvSpPr/>
          <p:nvPr/>
        </p:nvSpPr>
        <p:spPr bwMode="auto">
          <a:xfrm>
            <a:off x="7977420" y="5673545"/>
            <a:ext cx="1152160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A1A4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mium Cont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F94802A2-D588-4DBF-960D-BAC0726794C7}"/>
              </a:ext>
            </a:extLst>
          </p:cNvPr>
          <p:cNvSpPr/>
          <p:nvPr/>
        </p:nvSpPr>
        <p:spPr bwMode="auto">
          <a:xfrm>
            <a:off x="1136472" y="5685512"/>
            <a:ext cx="1297586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iginal Conten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B1003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C30BF372-9A3E-4186-89C0-05B33732F96C}"/>
              </a:ext>
            </a:extLst>
          </p:cNvPr>
          <p:cNvSpPr/>
          <p:nvPr/>
        </p:nvSpPr>
        <p:spPr bwMode="auto">
          <a:xfrm>
            <a:off x="2504660" y="5673545"/>
            <a:ext cx="1157585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ner Source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B1003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386E10DB-4ECB-4CD9-828E-039F26870E72}"/>
              </a:ext>
            </a:extLst>
          </p:cNvPr>
          <p:cNvSpPr/>
          <p:nvPr/>
        </p:nvSpPr>
        <p:spPr bwMode="auto">
          <a:xfrm>
            <a:off x="3800840" y="5673545"/>
            <a:ext cx="1152160" cy="40785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er Generate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B1003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3" name="Picture 202">
            <a:extLst>
              <a:ext uri="{FF2B5EF4-FFF2-40B4-BE49-F238E27FC236}">
                <a16:creationId xmlns:a16="http://schemas.microsoft.com/office/drawing/2014/main" id="{ECE54B5F-9F89-4812-9A16-1A1C98C022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7771" y="4690439"/>
            <a:ext cx="385999" cy="457200"/>
          </a:xfrm>
          <a:prstGeom prst="rect">
            <a:avLst/>
          </a:prstGeom>
        </p:spPr>
      </p:pic>
      <p:pic>
        <p:nvPicPr>
          <p:cNvPr id="207" name="Picture 206">
            <a:extLst>
              <a:ext uri="{FF2B5EF4-FFF2-40B4-BE49-F238E27FC236}">
                <a16:creationId xmlns:a16="http://schemas.microsoft.com/office/drawing/2014/main" id="{15FCEA3D-E04B-4341-A069-A73DCD27A9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0760" y="5214429"/>
            <a:ext cx="653142" cy="36576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09" name="Picture 208">
            <a:extLst>
              <a:ext uri="{FF2B5EF4-FFF2-40B4-BE49-F238E27FC236}">
                <a16:creationId xmlns:a16="http://schemas.microsoft.com/office/drawing/2014/main" id="{578FA0EA-B986-454D-B3AF-2C0DF45D222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6590" t="6413" b="18437"/>
          <a:stretch/>
        </p:blipFill>
        <p:spPr>
          <a:xfrm>
            <a:off x="1712550" y="5213805"/>
            <a:ext cx="722390" cy="36576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1" name="Picture 210">
            <a:extLst>
              <a:ext uri="{FF2B5EF4-FFF2-40B4-BE49-F238E27FC236}">
                <a16:creationId xmlns:a16="http://schemas.microsoft.com/office/drawing/2014/main" id="{4E09B035-C9C7-402C-BBF8-060D4EF8A2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65440" y="4792898"/>
            <a:ext cx="822960" cy="822960"/>
          </a:xfrm>
          <a:prstGeom prst="rect">
            <a:avLst/>
          </a:prstGeom>
        </p:spPr>
      </p:pic>
      <p:pic>
        <p:nvPicPr>
          <p:cNvPr id="213" name="Picture 212">
            <a:extLst>
              <a:ext uri="{FF2B5EF4-FFF2-40B4-BE49-F238E27FC236}">
                <a16:creationId xmlns:a16="http://schemas.microsoft.com/office/drawing/2014/main" id="{5F281382-1034-4890-B79D-897764830F4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2920" b="17140"/>
          <a:stretch/>
        </p:blipFill>
        <p:spPr>
          <a:xfrm>
            <a:off x="2641541" y="4982001"/>
            <a:ext cx="1045930" cy="640080"/>
          </a:xfrm>
          <a:prstGeom prst="rect">
            <a:avLst/>
          </a:prstGeom>
        </p:spPr>
      </p:pic>
      <p:pic>
        <p:nvPicPr>
          <p:cNvPr id="215" name="Picture 214">
            <a:extLst>
              <a:ext uri="{FF2B5EF4-FFF2-40B4-BE49-F238E27FC236}">
                <a16:creationId xmlns:a16="http://schemas.microsoft.com/office/drawing/2014/main" id="{E207596C-DAE2-410E-9327-55A845A8463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53250" y="4869200"/>
            <a:ext cx="914400" cy="512065"/>
          </a:xfrm>
          <a:prstGeom prst="rect">
            <a:avLst/>
          </a:prstGeom>
        </p:spPr>
      </p:pic>
      <p:pic>
        <p:nvPicPr>
          <p:cNvPr id="219" name="Picture 218">
            <a:extLst>
              <a:ext uri="{FF2B5EF4-FFF2-40B4-BE49-F238E27FC236}">
                <a16:creationId xmlns:a16="http://schemas.microsoft.com/office/drawing/2014/main" id="{2E47647C-E72C-46D4-A629-2EAF2DE7DC65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30826" r="30601"/>
          <a:stretch/>
        </p:blipFill>
        <p:spPr>
          <a:xfrm>
            <a:off x="7992435" y="5006719"/>
            <a:ext cx="274320" cy="433642"/>
          </a:xfrm>
          <a:prstGeom prst="rect">
            <a:avLst/>
          </a:prstGeom>
        </p:spPr>
      </p:pic>
      <p:pic>
        <p:nvPicPr>
          <p:cNvPr id="221" name="Picture 220">
            <a:extLst>
              <a:ext uri="{FF2B5EF4-FFF2-40B4-BE49-F238E27FC236}">
                <a16:creationId xmlns:a16="http://schemas.microsoft.com/office/drawing/2014/main" id="{D5C388DD-DCE2-4CE3-B371-3E351397C0E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1907" r="13460"/>
          <a:stretch/>
        </p:blipFill>
        <p:spPr>
          <a:xfrm>
            <a:off x="5625796" y="5109792"/>
            <a:ext cx="680522" cy="365760"/>
          </a:xfrm>
          <a:prstGeom prst="rect">
            <a:avLst/>
          </a:prstGeom>
        </p:spPr>
      </p:pic>
      <p:pic>
        <p:nvPicPr>
          <p:cNvPr id="225" name="Picture 224">
            <a:extLst>
              <a:ext uri="{FF2B5EF4-FFF2-40B4-BE49-F238E27FC236}">
                <a16:creationId xmlns:a16="http://schemas.microsoft.com/office/drawing/2014/main" id="{652763A5-5CA1-4D1B-AB8A-9C41E34F9FB6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26060" b="25721"/>
          <a:stretch/>
        </p:blipFill>
        <p:spPr>
          <a:xfrm>
            <a:off x="5490933" y="4816385"/>
            <a:ext cx="914400" cy="293407"/>
          </a:xfrm>
          <a:prstGeom prst="rect">
            <a:avLst/>
          </a:prstGeom>
        </p:spPr>
      </p:pic>
      <p:pic>
        <p:nvPicPr>
          <p:cNvPr id="133" name="Picture 8" descr="Image result for liqvid logo png">
            <a:extLst>
              <a:ext uri="{FF2B5EF4-FFF2-40B4-BE49-F238E27FC236}">
                <a16:creationId xmlns:a16="http://schemas.microsoft.com/office/drawing/2014/main" id="{2E4FECE8-72C5-4ACF-A88E-729BCE41F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535" y="5389570"/>
            <a:ext cx="658866" cy="329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10" descr="Home">
            <a:extLst>
              <a:ext uri="{FF2B5EF4-FFF2-40B4-BE49-F238E27FC236}">
                <a16:creationId xmlns:a16="http://schemas.microsoft.com/office/drawing/2014/main" id="{EE5A2F52-DF57-4C4A-ADA6-65944CAA2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994" y="5428747"/>
            <a:ext cx="532152" cy="261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16" descr="Image result for premium content">
            <a:extLst>
              <a:ext uri="{FF2B5EF4-FFF2-40B4-BE49-F238E27FC236}">
                <a16:creationId xmlns:a16="http://schemas.microsoft.com/office/drawing/2014/main" id="{C496DEB7-A7C9-4B65-8F1E-E5D4721DE3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2550" y="5082353"/>
            <a:ext cx="822960" cy="281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4" descr="http://nazara.com/wp-content/uploads/2015/06/nazara-logo-white.png">
            <a:extLst>
              <a:ext uri="{FF2B5EF4-FFF2-40B4-BE49-F238E27FC236}">
                <a16:creationId xmlns:a16="http://schemas.microsoft.com/office/drawing/2014/main" id="{F6D5B8F3-2B84-40B7-A3E8-EA9B363EF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7569" y="5495687"/>
            <a:ext cx="936130" cy="18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2" descr="Image result for ready to play games online icon">
            <a:extLst>
              <a:ext uri="{FF2B5EF4-FFF2-40B4-BE49-F238E27FC236}">
                <a16:creationId xmlns:a16="http://schemas.microsoft.com/office/drawing/2014/main" id="{CB68A96E-52E2-4FD1-A47A-2763CEB84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1470" y="2055037"/>
            <a:ext cx="950768" cy="633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Rectangle 140">
            <a:extLst>
              <a:ext uri="{FF2B5EF4-FFF2-40B4-BE49-F238E27FC236}">
                <a16:creationId xmlns:a16="http://schemas.microsoft.com/office/drawing/2014/main" id="{AFED0809-BD5A-4D81-A4E3-69C4BD54ECAB}"/>
              </a:ext>
            </a:extLst>
          </p:cNvPr>
          <p:cNvSpPr/>
          <p:nvPr/>
        </p:nvSpPr>
        <p:spPr>
          <a:xfrm>
            <a:off x="916475" y="3059425"/>
            <a:ext cx="4252555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Leaderboards, Badges, Quests, Levels, Virtual Goods, Rewards &amp; Recog.</a:t>
            </a:r>
          </a:p>
        </p:txBody>
      </p:sp>
    </p:spTree>
    <p:extLst>
      <p:ext uri="{BB962C8B-B14F-4D97-AF65-F5344CB8AC3E}">
        <p14:creationId xmlns:p14="http://schemas.microsoft.com/office/powerpoint/2010/main" val="231851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2</a:t>
            </a:fld>
            <a:endParaRPr lang="en-GB" dirty="0">
              <a:solidFill>
                <a:srgbClr val="85888B"/>
              </a:solidFill>
            </a:endParaRPr>
          </a:p>
        </p:txBody>
      </p:sp>
      <p:cxnSp>
        <p:nvCxnSpPr>
          <p:cNvPr id="6" name="Straight Connector 5"/>
          <p:cNvCxnSpPr>
            <a:cxnSpLocks/>
            <a:stCxn id="7" idx="4"/>
          </p:cNvCxnSpPr>
          <p:nvPr/>
        </p:nvCxnSpPr>
        <p:spPr>
          <a:xfrm flipH="1">
            <a:off x="1055112" y="2214696"/>
            <a:ext cx="0" cy="246888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>
            <p:custDataLst>
              <p:tags r:id="rId1"/>
            </p:custDataLst>
          </p:nvPr>
        </p:nvSpPr>
        <p:spPr>
          <a:xfrm>
            <a:off x="932482" y="1950954"/>
            <a:ext cx="262708" cy="263742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</a:pPr>
            <a:endParaRPr lang="en-GB" sz="20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>
          <a:xfrm>
            <a:off x="1328983" y="2736110"/>
            <a:ext cx="7584567" cy="367200"/>
          </a:xfrm>
          <a:prstGeom prst="rect">
            <a:avLst/>
          </a:prstGeom>
        </p:spPr>
        <p:txBody>
          <a:bodyPr vert="horz" lIns="91440" tIns="0" rIns="91440" bIns="0" rtlCol="0" anchor="ctr">
            <a:noAutofit/>
          </a:bodyPr>
          <a:lstStyle/>
          <a:p>
            <a:r>
              <a:rPr lang="en-GB" sz="2000" dirty="0">
                <a:latin typeface="Calibri" pitchFamily="34" charset="0"/>
              </a:rPr>
              <a:t>Value Propositions summary</a:t>
            </a:r>
          </a:p>
        </p:txBody>
      </p:sp>
      <p:sp>
        <p:nvSpPr>
          <p:cNvPr id="9" name="Oval 8"/>
          <p:cNvSpPr/>
          <p:nvPr>
            <p:custDataLst>
              <p:tags r:id="rId2"/>
            </p:custDataLst>
          </p:nvPr>
        </p:nvSpPr>
        <p:spPr>
          <a:xfrm>
            <a:off x="932483" y="2815933"/>
            <a:ext cx="262707" cy="263741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GB" sz="20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1" name="Oval 10"/>
          <p:cNvSpPr/>
          <p:nvPr>
            <p:custDataLst>
              <p:tags r:id="rId3"/>
            </p:custDataLst>
          </p:nvPr>
        </p:nvSpPr>
        <p:spPr>
          <a:xfrm>
            <a:off x="932482" y="3680911"/>
            <a:ext cx="262708" cy="263742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GB" sz="20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2" name="Espace réservé du contenu 2"/>
          <p:cNvSpPr txBox="1">
            <a:spLocks/>
          </p:cNvSpPr>
          <p:nvPr/>
        </p:nvSpPr>
        <p:spPr>
          <a:xfrm>
            <a:off x="1317597" y="1909640"/>
            <a:ext cx="7431823" cy="367200"/>
          </a:xfrm>
          <a:prstGeom prst="rect">
            <a:avLst/>
          </a:prstGeom>
        </p:spPr>
        <p:txBody>
          <a:bodyPr vert="horz" lIns="91440" tIns="0" rIns="91440" bIns="0" rtlCol="0" anchor="ctr">
            <a:noAutofit/>
          </a:bodyPr>
          <a:lstStyle/>
          <a:p>
            <a:pPr marL="231775" indent="-231775" defTabSz="914342" fontAlgn="auto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defRPr/>
            </a:pPr>
            <a:r>
              <a:rPr lang="en-GB" sz="2000" dirty="0">
                <a:latin typeface="Calibri" pitchFamily="34" charset="0"/>
              </a:rPr>
              <a:t>List of Stakeholders Met</a:t>
            </a:r>
          </a:p>
        </p:txBody>
      </p:sp>
      <p:sp>
        <p:nvSpPr>
          <p:cNvPr id="13" name="Espace réservé du contenu 2"/>
          <p:cNvSpPr txBox="1">
            <a:spLocks/>
          </p:cNvSpPr>
          <p:nvPr/>
        </p:nvSpPr>
        <p:spPr>
          <a:xfrm>
            <a:off x="1311534" y="4502000"/>
            <a:ext cx="7431823" cy="367200"/>
          </a:xfrm>
          <a:prstGeom prst="rect">
            <a:avLst/>
          </a:prstGeom>
        </p:spPr>
        <p:txBody>
          <a:bodyPr vert="horz" lIns="91440" tIns="0" rIns="91440" bIns="0" rtlCol="0" anchor="ctr">
            <a:noAutofit/>
          </a:bodyPr>
          <a:lstStyle/>
          <a:p>
            <a:pPr marL="231775" lvl="0" indent="-231775" defTabSz="914342" fontAlgn="auto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defRPr/>
            </a:pPr>
            <a:r>
              <a:rPr lang="en-GB" sz="2000" dirty="0">
                <a:latin typeface="Calibri" pitchFamily="34" charset="0"/>
              </a:rPr>
              <a:t>Appendix</a:t>
            </a:r>
          </a:p>
        </p:txBody>
      </p:sp>
      <p:sp>
        <p:nvSpPr>
          <p:cNvPr id="14" name="Oval 13"/>
          <p:cNvSpPr/>
          <p:nvPr>
            <p:custDataLst>
              <p:tags r:id="rId4"/>
            </p:custDataLst>
          </p:nvPr>
        </p:nvSpPr>
        <p:spPr>
          <a:xfrm>
            <a:off x="923758" y="4545890"/>
            <a:ext cx="262708" cy="263742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GB" sz="20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04DB9703-AD7B-45A1-B7B6-060EDBA9EAA7}"/>
              </a:ext>
            </a:extLst>
          </p:cNvPr>
          <p:cNvSpPr txBox="1">
            <a:spLocks/>
          </p:cNvSpPr>
          <p:nvPr/>
        </p:nvSpPr>
        <p:spPr>
          <a:xfrm>
            <a:off x="1323348" y="3619055"/>
            <a:ext cx="7431823" cy="367200"/>
          </a:xfrm>
          <a:prstGeom prst="rect">
            <a:avLst/>
          </a:prstGeom>
        </p:spPr>
        <p:txBody>
          <a:bodyPr vert="horz" lIns="91440" tIns="0" rIns="91440" bIns="0" rtlCol="0" anchor="ctr">
            <a:noAutofit/>
          </a:bodyPr>
          <a:lstStyle/>
          <a:p>
            <a:pPr marL="231775" lvl="0" indent="-231775" defTabSz="914342" fontAlgn="auto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defRPr/>
            </a:pPr>
            <a:r>
              <a:rPr lang="en-GB" sz="2000" dirty="0">
                <a:latin typeface="Calibri" pitchFamily="34" charset="0"/>
              </a:rPr>
              <a:t>Business Model Framework</a:t>
            </a:r>
          </a:p>
        </p:txBody>
      </p:sp>
    </p:spTree>
    <p:extLst>
      <p:ext uri="{BB962C8B-B14F-4D97-AF65-F5344CB8AC3E}">
        <p14:creationId xmlns:p14="http://schemas.microsoft.com/office/powerpoint/2010/main" val="314891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1DC95D-FD4F-48CE-8B17-93F720DAA1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sonalization and Gamification Tool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7351E7-7CCA-474A-A929-E26352D0B31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7636D-84F2-4A8E-A468-E2115E008AA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20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E035C3-DF51-4E08-84E9-0B7B41B42CEE}"/>
              </a:ext>
            </a:extLst>
          </p:cNvPr>
          <p:cNvSpPr/>
          <p:nvPr/>
        </p:nvSpPr>
        <p:spPr>
          <a:xfrm>
            <a:off x="5000473" y="1676117"/>
            <a:ext cx="4464615" cy="18113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indent="-342900" algn="just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amification platform provides customizable gamification elements designed to increase user interaction on websites</a:t>
            </a:r>
          </a:p>
          <a:p>
            <a:pPr marL="342900" marR="0" indent="-342900" algn="just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t involves badging, points, live notifications, and leaderboards. </a:t>
            </a:r>
          </a:p>
          <a:p>
            <a:pPr marL="342900" marR="0" indent="-342900" algn="just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ditionally these platform provides analytics to track user particip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65D0F5B-DBA3-4A10-BB0B-C349D201C3A3}"/>
              </a:ext>
            </a:extLst>
          </p:cNvPr>
          <p:cNvCxnSpPr/>
          <p:nvPr/>
        </p:nvCxnSpPr>
        <p:spPr>
          <a:xfrm>
            <a:off x="4736970" y="1412720"/>
            <a:ext cx="0" cy="475266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0B88D380-A30F-4C98-8A7B-9EDB77A603F7}"/>
              </a:ext>
            </a:extLst>
          </p:cNvPr>
          <p:cNvSpPr/>
          <p:nvPr/>
        </p:nvSpPr>
        <p:spPr>
          <a:xfrm>
            <a:off x="6381373" y="1228054"/>
            <a:ext cx="16798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AMIFICATION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C4ED074-2F3B-4B8D-AA07-FB89F2C5A83F}"/>
              </a:ext>
            </a:extLst>
          </p:cNvPr>
          <p:cNvSpPr/>
          <p:nvPr/>
        </p:nvSpPr>
        <p:spPr>
          <a:xfrm>
            <a:off x="1548831" y="1261489"/>
            <a:ext cx="19757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ONALIZATION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647643-9FAB-4360-8BD5-9052C36ED739}"/>
              </a:ext>
            </a:extLst>
          </p:cNvPr>
          <p:cNvSpPr/>
          <p:nvPr/>
        </p:nvSpPr>
        <p:spPr>
          <a:xfrm>
            <a:off x="200345" y="1689617"/>
            <a:ext cx="4464615" cy="20569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indent="-342900" algn="just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onalization tool helps in customizing the content for the users based on their historical behavior and preferences set by them while using the website / app</a:t>
            </a:r>
          </a:p>
          <a:p>
            <a:pPr marL="342900" marR="0" indent="-342900" algn="just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onalization helps in improving the user engagement time and also reduces the bounce rates </a:t>
            </a:r>
          </a:p>
          <a:p>
            <a:pPr marL="342900" marR="0" indent="-342900" algn="just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 have categorized personalization into to two categories – a) filter/preference/profile based, and 2) behavior bas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CAD03C-179F-4A35-BDC5-7A508144A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370" y="4086183"/>
            <a:ext cx="1827979" cy="4631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21DF190-BC62-46CD-9A07-B4C03C4E52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091" t="24611" r="11178" b="20912"/>
          <a:stretch/>
        </p:blipFill>
        <p:spPr>
          <a:xfrm>
            <a:off x="2360639" y="5760857"/>
            <a:ext cx="1924571" cy="4645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F4F421F-1F5C-4697-8DE7-24A39C846F8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2865" t="6697" b="53113"/>
          <a:stretch/>
        </p:blipFill>
        <p:spPr>
          <a:xfrm>
            <a:off x="2845012" y="3987235"/>
            <a:ext cx="1440198" cy="66106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7151DA4-8614-4553-B05C-CB5106EE39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6604" y="4829692"/>
            <a:ext cx="1440198" cy="6773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B4092A5-FE5E-49DD-9C07-A19766E520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2571" y="4999744"/>
            <a:ext cx="1535377" cy="46457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733D241-8368-4698-BDDE-2A0AB4346C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6703" y="5716921"/>
            <a:ext cx="1028700" cy="5524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4A0D02E-0A6E-42A4-BF83-46988E378945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49496" y="4093978"/>
            <a:ext cx="5486400" cy="1897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869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1053" y="17941"/>
            <a:ext cx="9905999" cy="728700"/>
          </a:xfr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CMS Comparison and Analysis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7 Capgemini. All rights reserved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CE626-3159-4274-8158-4292551456C4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aphicFrame>
        <p:nvGraphicFramePr>
          <p:cNvPr id="6" name="Group 39">
            <a:extLst>
              <a:ext uri="{FF2B5EF4-FFF2-40B4-BE49-F238E27FC236}">
                <a16:creationId xmlns:a16="http://schemas.microsoft.com/office/drawing/2014/main" id="{73C51C05-3EBF-4EDB-9639-07EE4B21F4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8049020"/>
              </p:ext>
            </p:extLst>
          </p:nvPr>
        </p:nvGraphicFramePr>
        <p:xfrm>
          <a:off x="273749" y="1554736"/>
          <a:ext cx="9359901" cy="4394614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4175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0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80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80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323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Essential CMS Feature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4C Plus</a:t>
                      </a:r>
                    </a:p>
                  </a:txBody>
                  <a:tcPr marL="90000" marR="90000" marT="46800" marB="468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Escenic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TIL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0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Multi Channel Support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00"/>
                        </a:solidFill>
                        <a:effectLst/>
                        <a:uLnTx/>
                        <a:uFillTx/>
                        <a:latin typeface="Webdings" panose="05030102010509060703" pitchFamily="18" charset="2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Multi Media Support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0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Gamificatio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Tag Management - Customer Journey (Analytics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C0000"/>
                        </a:solidFill>
                        <a:effectLst/>
                        <a:uLnTx/>
                        <a:uFillTx/>
                        <a:latin typeface="Webdings" panose="05030102010509060703" pitchFamily="18" charset="2"/>
                        <a:ea typeface="+mn-ea"/>
                        <a:cs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Personalization &amp; Customer Segmentatio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883824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Campaign Management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599574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UI/ UX Capabilitie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654718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User Dashboard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6876450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360</a:t>
                      </a:r>
                      <a:r>
                        <a:rPr kumimoji="0" lang="en-GB" sz="16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o</a:t>
                      </a: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 view of Customer, Rewards/ Loyalty Point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C0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262915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Content Tag (Metadata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4348455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Ease of Authoring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774A39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Webdings" panose="05030102010509060703" pitchFamily="18" charset="2"/>
                          <a:ea typeface="+mn-ea"/>
                          <a:cs typeface="Calibri" pitchFamily="34" charset="0"/>
                        </a:rPr>
                        <a:t>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160108"/>
                  </a:ext>
                </a:extLst>
              </a:tr>
            </a:tbl>
          </a:graphicData>
        </a:graphic>
      </p:graphicFrame>
      <p:sp>
        <p:nvSpPr>
          <p:cNvPr id="7" name="Rectangle 29">
            <a:hlinkClick r:id="rId3" action="ppaction://hlinksldjump"/>
            <a:extLst>
              <a:ext uri="{FF2B5EF4-FFF2-40B4-BE49-F238E27FC236}">
                <a16:creationId xmlns:a16="http://schemas.microsoft.com/office/drawing/2014/main" id="{C5D878DC-160A-4163-A1C9-A6F35E7B06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4798" y="6456835"/>
            <a:ext cx="1088153" cy="401165"/>
          </a:xfrm>
          <a:prstGeom prst="rect">
            <a:avLst/>
          </a:prstGeom>
          <a:solidFill>
            <a:srgbClr val="FFFF00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 dirty="0">
                <a:latin typeface="Calibri"/>
                <a:cs typeface="Calibri" pitchFamily="34" charset="0"/>
              </a:rPr>
              <a:t>&lt;&lt; BACK</a:t>
            </a:r>
            <a:endParaRPr kumimoji="0" lang="en-GB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312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2712"/>
            <a:ext cx="9906000" cy="613257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FBD742C-3ECD-4200-ACD1-1DD448336E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887" r="3709" b="2564"/>
          <a:stretch/>
        </p:blipFill>
        <p:spPr>
          <a:xfrm>
            <a:off x="0" y="936857"/>
            <a:ext cx="9902952" cy="5558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7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2712"/>
            <a:ext cx="9906000" cy="613257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2071180-2E31-45B1-8048-BB2BF8C4966B}"/>
              </a:ext>
            </a:extLst>
          </p:cNvPr>
          <p:cNvSpPr/>
          <p:nvPr/>
        </p:nvSpPr>
        <p:spPr bwMode="auto">
          <a:xfrm>
            <a:off x="2936719" y="836640"/>
            <a:ext cx="3960551" cy="79211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BE4015F-3090-4A4A-9566-DA3D803D7B18}"/>
              </a:ext>
            </a:extLst>
          </p:cNvPr>
          <p:cNvSpPr/>
          <p:nvPr/>
        </p:nvSpPr>
        <p:spPr>
          <a:xfrm>
            <a:off x="6825260" y="998662"/>
            <a:ext cx="1728240" cy="46806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en-US" sz="1600" dirty="0"/>
              <a:t>3 primary value propositions</a:t>
            </a:r>
          </a:p>
        </p:txBody>
      </p:sp>
    </p:spTree>
    <p:extLst>
      <p:ext uri="{BB962C8B-B14F-4D97-AF65-F5344CB8AC3E}">
        <p14:creationId xmlns:p14="http://schemas.microsoft.com/office/powerpoint/2010/main" val="370576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2712"/>
            <a:ext cx="9906000" cy="613257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2AEBBD6-9D84-4AAC-B90A-5A4099EE9A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28687"/>
            <a:ext cx="9906000" cy="566737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1C913A1-5A0F-4D6A-B1F3-4F75E977DA3F}"/>
              </a:ext>
            </a:extLst>
          </p:cNvPr>
          <p:cNvSpPr/>
          <p:nvPr/>
        </p:nvSpPr>
        <p:spPr>
          <a:xfrm>
            <a:off x="2585403" y="4791074"/>
            <a:ext cx="2349714" cy="180498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" rIns="91440" rtlCol="0" anchor="t"/>
          <a:lstStyle/>
          <a:p>
            <a:r>
              <a:rPr lang="en-US" sz="1400" b="1" dirty="0">
                <a:solidFill>
                  <a:schemeClr val="tx1"/>
                </a:solidFill>
              </a:rPr>
              <a:t>Student Reports!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44057EF-B50B-44FF-AAD9-4660290CEF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274" y="5053012"/>
            <a:ext cx="9267825" cy="1543050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36A5FEDF-D76B-46FA-A81C-C88DC5D44AA5}"/>
              </a:ext>
            </a:extLst>
          </p:cNvPr>
          <p:cNvSpPr/>
          <p:nvPr/>
        </p:nvSpPr>
        <p:spPr>
          <a:xfrm>
            <a:off x="2585403" y="5053012"/>
            <a:ext cx="46672" cy="1543050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A1398BD-0C46-4DB0-8380-9F63530DEBFD}"/>
              </a:ext>
            </a:extLst>
          </p:cNvPr>
          <p:cNvSpPr/>
          <p:nvPr/>
        </p:nvSpPr>
        <p:spPr>
          <a:xfrm>
            <a:off x="4888446" y="5053012"/>
            <a:ext cx="46672" cy="1543050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E9B10E5-ADC9-403B-9C42-1235260A338D}"/>
              </a:ext>
            </a:extLst>
          </p:cNvPr>
          <p:cNvGrpSpPr/>
          <p:nvPr/>
        </p:nvGrpSpPr>
        <p:grpSpPr>
          <a:xfrm>
            <a:off x="1578242" y="3727249"/>
            <a:ext cx="635268" cy="182880"/>
            <a:chOff x="1549667" y="3821229"/>
            <a:chExt cx="635268" cy="232611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DDFAA005-0EAA-45E3-8D0B-0538489BCAD7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4.5</a:t>
              </a:r>
            </a:p>
          </p:txBody>
        </p:sp>
        <p:sp>
          <p:nvSpPr>
            <p:cNvPr id="93" name="Star: 5 Points 92">
              <a:extLst>
                <a:ext uri="{FF2B5EF4-FFF2-40B4-BE49-F238E27FC236}">
                  <a16:creationId xmlns:a16="http://schemas.microsoft.com/office/drawing/2014/main" id="{0B622B28-83F0-4332-BD8B-BC7420DBACB9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3EBE879-DCD0-4A13-89D0-C90BBE60C8E4}"/>
              </a:ext>
            </a:extLst>
          </p:cNvPr>
          <p:cNvGrpSpPr/>
          <p:nvPr/>
        </p:nvGrpSpPr>
        <p:grpSpPr>
          <a:xfrm>
            <a:off x="3946525" y="6380379"/>
            <a:ext cx="635268" cy="182880"/>
            <a:chOff x="1549667" y="3821229"/>
            <a:chExt cx="635268" cy="232611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F449F8EB-77A0-44B2-BD27-ABF497470C7E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4.0</a:t>
              </a:r>
            </a:p>
          </p:txBody>
        </p:sp>
        <p:sp>
          <p:nvSpPr>
            <p:cNvPr id="96" name="Star: 5 Points 95">
              <a:extLst>
                <a:ext uri="{FF2B5EF4-FFF2-40B4-BE49-F238E27FC236}">
                  <a16:creationId xmlns:a16="http://schemas.microsoft.com/office/drawing/2014/main" id="{9A8CF9B3-EEE8-4628-8CCC-F69EB238F723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29367093-15EA-46A5-984D-79FBF5114E87}"/>
              </a:ext>
            </a:extLst>
          </p:cNvPr>
          <p:cNvGrpSpPr/>
          <p:nvPr/>
        </p:nvGrpSpPr>
        <p:grpSpPr>
          <a:xfrm>
            <a:off x="6268085" y="3713278"/>
            <a:ext cx="635268" cy="232611"/>
            <a:chOff x="1549667" y="3821229"/>
            <a:chExt cx="635268" cy="232611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6B36FBCB-8875-4B36-8A6B-AE3BABDAE4E4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5.0</a:t>
              </a:r>
            </a:p>
          </p:txBody>
        </p:sp>
        <p:sp>
          <p:nvSpPr>
            <p:cNvPr id="99" name="Star: 5 Points 98">
              <a:extLst>
                <a:ext uri="{FF2B5EF4-FFF2-40B4-BE49-F238E27FC236}">
                  <a16:creationId xmlns:a16="http://schemas.microsoft.com/office/drawing/2014/main" id="{BA4477C7-43EE-4500-83FB-14399ED1CB0C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65037AA3-A1B9-4E06-A8F0-C581164ADAA4}"/>
              </a:ext>
            </a:extLst>
          </p:cNvPr>
          <p:cNvSpPr/>
          <p:nvPr/>
        </p:nvSpPr>
        <p:spPr>
          <a:xfrm>
            <a:off x="8636368" y="3713278"/>
            <a:ext cx="635268" cy="232611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5.0</a:t>
            </a:r>
          </a:p>
        </p:txBody>
      </p:sp>
      <p:sp>
        <p:nvSpPr>
          <p:cNvPr id="101" name="Star: 5 Points 100">
            <a:extLst>
              <a:ext uri="{FF2B5EF4-FFF2-40B4-BE49-F238E27FC236}">
                <a16:creationId xmlns:a16="http://schemas.microsoft.com/office/drawing/2014/main" id="{8E59B072-EE93-44C4-A797-77ED58484194}"/>
              </a:ext>
            </a:extLst>
          </p:cNvPr>
          <p:cNvSpPr/>
          <p:nvPr/>
        </p:nvSpPr>
        <p:spPr>
          <a:xfrm>
            <a:off x="8868769" y="3749644"/>
            <a:ext cx="137160" cy="137160"/>
          </a:xfrm>
          <a:prstGeom prst="star5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B97AA41-8A15-4381-9F3F-6EE8DF82C86B}"/>
              </a:ext>
            </a:extLst>
          </p:cNvPr>
          <p:cNvGrpSpPr/>
          <p:nvPr/>
        </p:nvGrpSpPr>
        <p:grpSpPr>
          <a:xfrm>
            <a:off x="1548067" y="6331014"/>
            <a:ext cx="635268" cy="232611"/>
            <a:chOff x="1549667" y="3821229"/>
            <a:chExt cx="635268" cy="232611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21F672E-6CEB-4DFB-841A-19F1359508BD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4.5</a:t>
              </a:r>
            </a:p>
          </p:txBody>
        </p:sp>
        <p:sp>
          <p:nvSpPr>
            <p:cNvPr id="104" name="Star: 5 Points 103">
              <a:extLst>
                <a:ext uri="{FF2B5EF4-FFF2-40B4-BE49-F238E27FC236}">
                  <a16:creationId xmlns:a16="http://schemas.microsoft.com/office/drawing/2014/main" id="{5CB461EC-9A90-4D8F-887F-E4F7878167CC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BDC61EF-ADD6-4AA1-B7BF-75A8BE2A68BF}"/>
              </a:ext>
            </a:extLst>
          </p:cNvPr>
          <p:cNvGrpSpPr/>
          <p:nvPr/>
        </p:nvGrpSpPr>
        <p:grpSpPr>
          <a:xfrm>
            <a:off x="6237910" y="6346888"/>
            <a:ext cx="635268" cy="232611"/>
            <a:chOff x="1549667" y="3821229"/>
            <a:chExt cx="635268" cy="232611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D1FD5745-7122-4584-B976-02A9ADD86935}"/>
                </a:ext>
              </a:extLst>
            </p:cNvPr>
            <p:cNvSpPr/>
            <p:nvPr/>
          </p:nvSpPr>
          <p:spPr>
            <a:xfrm>
              <a:off x="1549667" y="3821229"/>
              <a:ext cx="635268" cy="232611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</a:rPr>
                <a:t>5.0</a:t>
              </a:r>
            </a:p>
          </p:txBody>
        </p:sp>
        <p:sp>
          <p:nvSpPr>
            <p:cNvPr id="107" name="Star: 5 Points 106">
              <a:extLst>
                <a:ext uri="{FF2B5EF4-FFF2-40B4-BE49-F238E27FC236}">
                  <a16:creationId xmlns:a16="http://schemas.microsoft.com/office/drawing/2014/main" id="{09A54FF6-CF34-401A-AAEF-3F5144640820}"/>
                </a:ext>
              </a:extLst>
            </p:cNvPr>
            <p:cNvSpPr/>
            <p:nvPr/>
          </p:nvSpPr>
          <p:spPr>
            <a:xfrm>
              <a:off x="1798721" y="3856254"/>
              <a:ext cx="137160" cy="137160"/>
            </a:xfrm>
            <a:prstGeom prst="star5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58B6D2E-E4C9-4269-BF18-2EF195B4C238}"/>
              </a:ext>
            </a:extLst>
          </p:cNvPr>
          <p:cNvSpPr/>
          <p:nvPr/>
        </p:nvSpPr>
        <p:spPr>
          <a:xfrm>
            <a:off x="8606193" y="6346888"/>
            <a:ext cx="635268" cy="232611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5.0</a:t>
            </a:r>
          </a:p>
        </p:txBody>
      </p:sp>
      <p:sp>
        <p:nvSpPr>
          <p:cNvPr id="109" name="Star: 5 Points 108">
            <a:extLst>
              <a:ext uri="{FF2B5EF4-FFF2-40B4-BE49-F238E27FC236}">
                <a16:creationId xmlns:a16="http://schemas.microsoft.com/office/drawing/2014/main" id="{764A2DD0-E4B4-4BDC-9E82-94BDE8AEF83F}"/>
              </a:ext>
            </a:extLst>
          </p:cNvPr>
          <p:cNvSpPr/>
          <p:nvPr/>
        </p:nvSpPr>
        <p:spPr>
          <a:xfrm>
            <a:off x="8855513" y="6377149"/>
            <a:ext cx="137160" cy="137160"/>
          </a:xfrm>
          <a:prstGeom prst="star5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0" name="Block Arc 109">
            <a:extLst>
              <a:ext uri="{FF2B5EF4-FFF2-40B4-BE49-F238E27FC236}">
                <a16:creationId xmlns:a16="http://schemas.microsoft.com/office/drawing/2014/main" id="{DC17DF07-0904-46B6-9359-4538322AE799}"/>
              </a:ext>
            </a:extLst>
          </p:cNvPr>
          <p:cNvSpPr/>
          <p:nvPr/>
        </p:nvSpPr>
        <p:spPr>
          <a:xfrm>
            <a:off x="3268445" y="2660212"/>
            <a:ext cx="822960" cy="822960"/>
          </a:xfrm>
          <a:prstGeom prst="blockArc">
            <a:avLst>
              <a:gd name="adj1" fmla="val 2878917"/>
              <a:gd name="adj2" fmla="val 21569031"/>
              <a:gd name="adj3" fmla="val 1112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00FD4EB0-127C-4D05-A4F0-201FA1A42836}"/>
              </a:ext>
            </a:extLst>
          </p:cNvPr>
          <p:cNvSpPr/>
          <p:nvPr/>
        </p:nvSpPr>
        <p:spPr>
          <a:xfrm>
            <a:off x="3310989" y="2942687"/>
            <a:ext cx="737871" cy="238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95000"/>
                  </a:schemeClr>
                </a:solidFill>
              </a:rPr>
              <a:t>3 hr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4D9B0A4-6A7E-4D23-BD3F-45F2CA23B297}"/>
              </a:ext>
            </a:extLst>
          </p:cNvPr>
          <p:cNvSpPr/>
          <p:nvPr/>
        </p:nvSpPr>
        <p:spPr>
          <a:xfrm>
            <a:off x="3917950" y="3695402"/>
            <a:ext cx="880534" cy="23876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inar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273785DA-5A24-4F61-B21E-C6D076B664FB}"/>
              </a:ext>
            </a:extLst>
          </p:cNvPr>
          <p:cNvSpPr/>
          <p:nvPr/>
        </p:nvSpPr>
        <p:spPr>
          <a:xfrm>
            <a:off x="5920137" y="2818832"/>
            <a:ext cx="457200" cy="457200"/>
          </a:xfrm>
          <a:prstGeom prst="ellipse">
            <a:avLst/>
          </a:prstGeom>
          <a:solidFill>
            <a:srgbClr val="F44336"/>
          </a:solidFill>
          <a:ln>
            <a:solidFill>
              <a:srgbClr val="F443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9975C282-B6B2-4F40-B7E0-1792374C85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89" b="10780"/>
          <a:stretch/>
        </p:blipFill>
        <p:spPr>
          <a:xfrm>
            <a:off x="5991257" y="2897413"/>
            <a:ext cx="314960" cy="300037"/>
          </a:xfrm>
          <a:prstGeom prst="rect">
            <a:avLst/>
          </a:prstGeom>
        </p:spPr>
      </p:pic>
      <p:sp>
        <p:nvSpPr>
          <p:cNvPr id="115" name="Rectangle 114">
            <a:extLst>
              <a:ext uri="{FF2B5EF4-FFF2-40B4-BE49-F238E27FC236}">
                <a16:creationId xmlns:a16="http://schemas.microsoft.com/office/drawing/2014/main" id="{E65B690B-6EAB-4772-919E-0FA8CB7BE265}"/>
              </a:ext>
            </a:extLst>
          </p:cNvPr>
          <p:cNvSpPr/>
          <p:nvPr/>
        </p:nvSpPr>
        <p:spPr>
          <a:xfrm>
            <a:off x="4986337" y="3455987"/>
            <a:ext cx="792163" cy="219075"/>
          </a:xfrm>
          <a:prstGeom prst="rect">
            <a:avLst/>
          </a:prstGeom>
          <a:solidFill>
            <a:srgbClr val="FFC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cience-Tech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769695F-D4E6-474B-98EE-953903D06F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5985" y="2406847"/>
            <a:ext cx="2267712" cy="2257721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10ADCED6-2462-45B1-BC6F-78F2A57E0CF6}"/>
              </a:ext>
            </a:extLst>
          </p:cNvPr>
          <p:cNvSpPr/>
          <p:nvPr/>
        </p:nvSpPr>
        <p:spPr bwMode="auto">
          <a:xfrm>
            <a:off x="1424510" y="1412721"/>
            <a:ext cx="5884869" cy="64809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15C5930-BA80-4025-B278-EDC1C04304AF}"/>
              </a:ext>
            </a:extLst>
          </p:cNvPr>
          <p:cNvSpPr/>
          <p:nvPr/>
        </p:nvSpPr>
        <p:spPr bwMode="auto">
          <a:xfrm>
            <a:off x="2581872" y="2366162"/>
            <a:ext cx="2350008" cy="233172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EBB065F-84EB-4E48-ACC2-C5E29E6F4E4C}"/>
              </a:ext>
            </a:extLst>
          </p:cNvPr>
          <p:cNvSpPr/>
          <p:nvPr/>
        </p:nvSpPr>
        <p:spPr>
          <a:xfrm>
            <a:off x="6825260" y="998662"/>
            <a:ext cx="1728240" cy="4680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bg1"/>
                </a:solidFill>
              </a:rPr>
              <a:t>5 News Categori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DB806F1-2F21-4462-8F6F-82243559A68D}"/>
              </a:ext>
            </a:extLst>
          </p:cNvPr>
          <p:cNvSpPr/>
          <p:nvPr/>
        </p:nvSpPr>
        <p:spPr>
          <a:xfrm>
            <a:off x="4664960" y="2411912"/>
            <a:ext cx="1728240" cy="4680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bg1"/>
                </a:solidFill>
              </a:rPr>
              <a:t>Grid View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F5A92E2-F93D-4F0A-90D7-CF3B9180777D}"/>
              </a:ext>
            </a:extLst>
          </p:cNvPr>
          <p:cNvSpPr/>
          <p:nvPr/>
        </p:nvSpPr>
        <p:spPr bwMode="auto">
          <a:xfrm>
            <a:off x="7272200" y="2374177"/>
            <a:ext cx="2350008" cy="233172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2BF8A26-E49E-4C68-BDB6-305F59547473}"/>
              </a:ext>
            </a:extLst>
          </p:cNvPr>
          <p:cNvSpPr/>
          <p:nvPr/>
        </p:nvSpPr>
        <p:spPr>
          <a:xfrm>
            <a:off x="5744978" y="4211369"/>
            <a:ext cx="1728240" cy="4680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bg1"/>
                </a:solidFill>
              </a:rPr>
              <a:t>Native Adv.</a:t>
            </a:r>
          </a:p>
        </p:txBody>
      </p:sp>
    </p:spTree>
    <p:extLst>
      <p:ext uri="{BB962C8B-B14F-4D97-AF65-F5344CB8AC3E}">
        <p14:creationId xmlns:p14="http://schemas.microsoft.com/office/powerpoint/2010/main" val="51356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3" grpId="0" animBg="1"/>
      <p:bldP spid="44" grpId="0" animBg="1"/>
      <p:bldP spid="45" grpId="0" animBg="1"/>
      <p:bldP spid="38" grpId="0" animBg="1"/>
      <p:bldP spid="4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73"/>
          <a:stretch/>
        </p:blipFill>
        <p:spPr>
          <a:xfrm>
            <a:off x="0" y="362712"/>
            <a:ext cx="9906000" cy="598093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1FFE701-2D8F-4C7D-83D2-70ABCB9241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" y="933450"/>
            <a:ext cx="9896475" cy="5562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0D960D2-1C8D-4134-9B1E-5BD5BC3B036C}"/>
              </a:ext>
            </a:extLst>
          </p:cNvPr>
          <p:cNvSpPr/>
          <p:nvPr/>
        </p:nvSpPr>
        <p:spPr>
          <a:xfrm>
            <a:off x="404265" y="5366288"/>
            <a:ext cx="2103120" cy="699442"/>
          </a:xfrm>
          <a:prstGeom prst="rect">
            <a:avLst/>
          </a:prstGeom>
          <a:solidFill>
            <a:srgbClr val="A4B5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704088"/>
            <a:r>
              <a:rPr lang="en-US" sz="1050" b="1" dirty="0">
                <a:solidFill>
                  <a:schemeClr val="bg1"/>
                </a:solidFill>
              </a:rPr>
              <a:t>India Of My Dreams</a:t>
            </a:r>
          </a:p>
          <a:p>
            <a:pPr marL="704088"/>
            <a:r>
              <a:rPr lang="en-US" sz="800" b="1" dirty="0">
                <a:solidFill>
                  <a:schemeClr val="bg1"/>
                </a:solidFill>
              </a:rPr>
              <a:t>by Shreya J</a:t>
            </a:r>
          </a:p>
          <a:p>
            <a:pPr marL="704088">
              <a:spcBef>
                <a:spcPts val="600"/>
              </a:spcBef>
            </a:pPr>
            <a:r>
              <a:rPr lang="en-US" sz="800" u="sng" dirty="0">
                <a:solidFill>
                  <a:schemeClr val="bg1"/>
                </a:solidFill>
              </a:rPr>
              <a:t>Your Corn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60BC671-E71F-4B8D-B873-A84FC509BA4C}"/>
              </a:ext>
            </a:extLst>
          </p:cNvPr>
          <p:cNvSpPr/>
          <p:nvPr/>
        </p:nvSpPr>
        <p:spPr>
          <a:xfrm>
            <a:off x="2760856" y="5359866"/>
            <a:ext cx="2103120" cy="699442"/>
          </a:xfrm>
          <a:prstGeom prst="rect">
            <a:avLst/>
          </a:prstGeom>
          <a:solidFill>
            <a:srgbClr val="E37D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704088"/>
            <a:r>
              <a:rPr lang="en-US" sz="1050" b="1" dirty="0">
                <a:solidFill>
                  <a:schemeClr val="bg1"/>
                </a:solidFill>
              </a:rPr>
              <a:t>Victims of Anger</a:t>
            </a:r>
          </a:p>
          <a:p>
            <a:pPr marL="704088"/>
            <a:r>
              <a:rPr lang="en-US" sz="800" dirty="0">
                <a:solidFill>
                  <a:schemeClr val="bg1"/>
                </a:solidFill>
              </a:rPr>
              <a:t>by Hardik K</a:t>
            </a:r>
            <a:endParaRPr lang="en-US" sz="800" u="sng" dirty="0">
              <a:solidFill>
                <a:schemeClr val="bg1"/>
              </a:solidFill>
            </a:endParaRPr>
          </a:p>
          <a:p>
            <a:pPr marL="704088">
              <a:spcBef>
                <a:spcPts val="600"/>
              </a:spcBef>
            </a:pPr>
            <a:r>
              <a:rPr lang="en-US" sz="800" u="sng" dirty="0">
                <a:solidFill>
                  <a:schemeClr val="bg1"/>
                </a:solidFill>
              </a:rPr>
              <a:t>Your Corn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33E61B-49CF-434C-B1AE-3E03A2FEA36A}"/>
              </a:ext>
            </a:extLst>
          </p:cNvPr>
          <p:cNvSpPr/>
          <p:nvPr/>
        </p:nvSpPr>
        <p:spPr>
          <a:xfrm>
            <a:off x="5117447" y="5359866"/>
            <a:ext cx="2103120" cy="699442"/>
          </a:xfrm>
          <a:prstGeom prst="rect">
            <a:avLst/>
          </a:prstGeom>
          <a:solidFill>
            <a:srgbClr val="418D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704088"/>
            <a:r>
              <a:rPr lang="en-US" sz="1050" b="1" dirty="0">
                <a:solidFill>
                  <a:schemeClr val="bg1"/>
                </a:solidFill>
              </a:rPr>
              <a:t>Victims of Anger</a:t>
            </a:r>
          </a:p>
          <a:p>
            <a:pPr marL="704088"/>
            <a:r>
              <a:rPr lang="en-US" sz="800" dirty="0">
                <a:solidFill>
                  <a:schemeClr val="bg1"/>
                </a:solidFill>
              </a:rPr>
              <a:t>by Roma R</a:t>
            </a:r>
            <a:endParaRPr lang="en-US" sz="800" u="sng" dirty="0">
              <a:solidFill>
                <a:schemeClr val="bg1"/>
              </a:solidFill>
            </a:endParaRPr>
          </a:p>
          <a:p>
            <a:pPr marL="704088">
              <a:spcBef>
                <a:spcPts val="600"/>
              </a:spcBef>
            </a:pPr>
            <a:r>
              <a:rPr lang="en-US" sz="800" u="sng" dirty="0">
                <a:solidFill>
                  <a:schemeClr val="bg1"/>
                </a:solidFill>
              </a:rPr>
              <a:t>Your Corn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181ED6A-5573-4F34-9631-8D6BBC865C78}"/>
              </a:ext>
            </a:extLst>
          </p:cNvPr>
          <p:cNvSpPr/>
          <p:nvPr/>
        </p:nvSpPr>
        <p:spPr>
          <a:xfrm>
            <a:off x="7474038" y="5366288"/>
            <a:ext cx="2103120" cy="699442"/>
          </a:xfrm>
          <a:prstGeom prst="rect">
            <a:avLst/>
          </a:prstGeom>
          <a:solidFill>
            <a:srgbClr val="5452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marL="704088"/>
            <a:r>
              <a:rPr lang="en-US" sz="1050" b="1" dirty="0"/>
              <a:t>Technology vs Human Relationships</a:t>
            </a:r>
          </a:p>
          <a:p>
            <a:pPr marL="704088" lvl="0"/>
            <a:r>
              <a:rPr lang="en-US" sz="800" b="1" dirty="0">
                <a:solidFill>
                  <a:prstClr val="white"/>
                </a:solidFill>
              </a:rPr>
              <a:t>by Shreya J</a:t>
            </a:r>
          </a:p>
          <a:p>
            <a:pPr marL="704088"/>
            <a:r>
              <a:rPr lang="en-US" sz="800" u="sng" dirty="0"/>
              <a:t>Your Corn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6B647EA-D21C-4990-8863-B6EA6C951F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00750" y="3936312"/>
            <a:ext cx="114300" cy="142875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3936EEB-0BB8-4BF7-A7FD-DB6CB649F2CE}"/>
              </a:ext>
            </a:extLst>
          </p:cNvPr>
          <p:cNvGrpSpPr/>
          <p:nvPr/>
        </p:nvGrpSpPr>
        <p:grpSpPr>
          <a:xfrm>
            <a:off x="1790432" y="3926879"/>
            <a:ext cx="638443" cy="232611"/>
            <a:chOff x="399782" y="4122392"/>
            <a:chExt cx="638443" cy="23261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C930E30-0FA8-412D-93B2-6BA78D15D05C}"/>
                </a:ext>
              </a:extLst>
            </p:cNvPr>
            <p:cNvSpPr/>
            <p:nvPr/>
          </p:nvSpPr>
          <p:spPr>
            <a:xfrm>
              <a:off x="404262" y="4131825"/>
              <a:ext cx="633963" cy="20205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875169-9EAC-4D08-B017-8C96EB0FDFC7}"/>
                </a:ext>
              </a:extLst>
            </p:cNvPr>
            <p:cNvSpPr/>
            <p:nvPr/>
          </p:nvSpPr>
          <p:spPr>
            <a:xfrm>
              <a:off x="399782" y="4122392"/>
              <a:ext cx="425718" cy="2326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5.0</a:t>
              </a:r>
            </a:p>
          </p:txBody>
        </p:sp>
        <p:sp>
          <p:nvSpPr>
            <p:cNvPr id="20" name="Star: 5 Points 19">
              <a:extLst>
                <a:ext uri="{FF2B5EF4-FFF2-40B4-BE49-F238E27FC236}">
                  <a16:creationId xmlns:a16="http://schemas.microsoft.com/office/drawing/2014/main" id="{C5671080-B428-4C72-9D75-2EB332BA8061}"/>
                </a:ext>
              </a:extLst>
            </p:cNvPr>
            <p:cNvSpPr/>
            <p:nvPr/>
          </p:nvSpPr>
          <p:spPr>
            <a:xfrm>
              <a:off x="441683" y="4158758"/>
              <a:ext cx="137160" cy="137160"/>
            </a:xfrm>
            <a:prstGeom prst="star5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Arrow: Chevron 20">
              <a:extLst>
                <a:ext uri="{FF2B5EF4-FFF2-40B4-BE49-F238E27FC236}">
                  <a16:creationId xmlns:a16="http://schemas.microsoft.com/office/drawing/2014/main" id="{3759DB26-7E12-46F8-850C-7CA1228630C2}"/>
                </a:ext>
              </a:extLst>
            </p:cNvPr>
            <p:cNvSpPr/>
            <p:nvPr/>
          </p:nvSpPr>
          <p:spPr>
            <a:xfrm rot="16200000">
              <a:off x="892176" y="4192977"/>
              <a:ext cx="133350" cy="91440"/>
            </a:xfrm>
            <a:prstGeom prst="chevro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BB3A51E-6BF7-47C0-88CF-CD45E8988FE8}"/>
                </a:ext>
              </a:extLst>
            </p:cNvPr>
            <p:cNvSpPr/>
            <p:nvPr/>
          </p:nvSpPr>
          <p:spPr>
            <a:xfrm>
              <a:off x="912267" y="4173577"/>
              <a:ext cx="91440" cy="7245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14ED7A0-7FC3-44F9-AFD0-5399EB4F0D6E}"/>
              </a:ext>
            </a:extLst>
          </p:cNvPr>
          <p:cNvGrpSpPr/>
          <p:nvPr/>
        </p:nvGrpSpPr>
        <p:grpSpPr>
          <a:xfrm>
            <a:off x="4133582" y="3907829"/>
            <a:ext cx="638443" cy="232611"/>
            <a:chOff x="399782" y="4122392"/>
            <a:chExt cx="638443" cy="232611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9A4139B-4498-48FC-B5FB-5B7E2F79EAEC}"/>
                </a:ext>
              </a:extLst>
            </p:cNvPr>
            <p:cNvSpPr/>
            <p:nvPr/>
          </p:nvSpPr>
          <p:spPr>
            <a:xfrm>
              <a:off x="404262" y="4131825"/>
              <a:ext cx="633963" cy="20205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D029514-6134-40BD-A1ED-3CEC19126F37}"/>
                </a:ext>
              </a:extLst>
            </p:cNvPr>
            <p:cNvSpPr/>
            <p:nvPr/>
          </p:nvSpPr>
          <p:spPr>
            <a:xfrm>
              <a:off x="399782" y="4122392"/>
              <a:ext cx="425718" cy="2326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5</a:t>
              </a:r>
            </a:p>
          </p:txBody>
        </p:sp>
        <p:sp>
          <p:nvSpPr>
            <p:cNvPr id="27" name="Star: 5 Points 26">
              <a:extLst>
                <a:ext uri="{FF2B5EF4-FFF2-40B4-BE49-F238E27FC236}">
                  <a16:creationId xmlns:a16="http://schemas.microsoft.com/office/drawing/2014/main" id="{8E5954D1-CB81-4EDB-BE92-6D6003C5F0C2}"/>
                </a:ext>
              </a:extLst>
            </p:cNvPr>
            <p:cNvSpPr/>
            <p:nvPr/>
          </p:nvSpPr>
          <p:spPr>
            <a:xfrm>
              <a:off x="441683" y="4158758"/>
              <a:ext cx="137160" cy="137160"/>
            </a:xfrm>
            <a:prstGeom prst="star5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7578BE2F-7D47-47B0-AFAA-ABE350BED115}"/>
                </a:ext>
              </a:extLst>
            </p:cNvPr>
            <p:cNvSpPr/>
            <p:nvPr/>
          </p:nvSpPr>
          <p:spPr>
            <a:xfrm rot="16200000">
              <a:off x="892176" y="4192977"/>
              <a:ext cx="133350" cy="91440"/>
            </a:xfrm>
            <a:prstGeom prst="chevro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80C41B6-9625-4AFF-A4CC-7C08C765A699}"/>
                </a:ext>
              </a:extLst>
            </p:cNvPr>
            <p:cNvSpPr/>
            <p:nvPr/>
          </p:nvSpPr>
          <p:spPr>
            <a:xfrm>
              <a:off x="912267" y="4173577"/>
              <a:ext cx="91440" cy="7245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AB1C8E0-7DC3-40A1-A233-C3256A668BB1}"/>
              </a:ext>
            </a:extLst>
          </p:cNvPr>
          <p:cNvGrpSpPr/>
          <p:nvPr/>
        </p:nvGrpSpPr>
        <p:grpSpPr>
          <a:xfrm>
            <a:off x="6505307" y="3898304"/>
            <a:ext cx="638443" cy="232611"/>
            <a:chOff x="399782" y="4122392"/>
            <a:chExt cx="638443" cy="23261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6FD7D43-180A-49B9-829B-F0B19126D403}"/>
                </a:ext>
              </a:extLst>
            </p:cNvPr>
            <p:cNvSpPr/>
            <p:nvPr/>
          </p:nvSpPr>
          <p:spPr>
            <a:xfrm>
              <a:off x="404262" y="4131825"/>
              <a:ext cx="633963" cy="20205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FF41925-4243-49CA-86B1-95361E094701}"/>
                </a:ext>
              </a:extLst>
            </p:cNvPr>
            <p:cNvSpPr/>
            <p:nvPr/>
          </p:nvSpPr>
          <p:spPr>
            <a:xfrm>
              <a:off x="399782" y="4122392"/>
              <a:ext cx="425718" cy="2326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2</a:t>
              </a:r>
            </a:p>
          </p:txBody>
        </p:sp>
        <p:sp>
          <p:nvSpPr>
            <p:cNvPr id="33" name="Star: 5 Points 32">
              <a:extLst>
                <a:ext uri="{FF2B5EF4-FFF2-40B4-BE49-F238E27FC236}">
                  <a16:creationId xmlns:a16="http://schemas.microsoft.com/office/drawing/2014/main" id="{06CBDEF2-20AC-4C0B-A547-8B96E12049BF}"/>
                </a:ext>
              </a:extLst>
            </p:cNvPr>
            <p:cNvSpPr/>
            <p:nvPr/>
          </p:nvSpPr>
          <p:spPr>
            <a:xfrm>
              <a:off x="441683" y="4158758"/>
              <a:ext cx="137160" cy="137160"/>
            </a:xfrm>
            <a:prstGeom prst="star5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Arrow: Chevron 33">
              <a:extLst>
                <a:ext uri="{FF2B5EF4-FFF2-40B4-BE49-F238E27FC236}">
                  <a16:creationId xmlns:a16="http://schemas.microsoft.com/office/drawing/2014/main" id="{FC304B75-9329-47E4-A3D3-56435D89D5D7}"/>
                </a:ext>
              </a:extLst>
            </p:cNvPr>
            <p:cNvSpPr/>
            <p:nvPr/>
          </p:nvSpPr>
          <p:spPr>
            <a:xfrm rot="16200000">
              <a:off x="892176" y="4192977"/>
              <a:ext cx="133350" cy="91440"/>
            </a:xfrm>
            <a:prstGeom prst="chevro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972246B-66E8-403F-8847-AD770D00DC18}"/>
                </a:ext>
              </a:extLst>
            </p:cNvPr>
            <p:cNvSpPr/>
            <p:nvPr/>
          </p:nvSpPr>
          <p:spPr>
            <a:xfrm>
              <a:off x="912267" y="4173577"/>
              <a:ext cx="91440" cy="7245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69CD09E-5CEA-4A76-8B25-66A976F199D3}"/>
              </a:ext>
            </a:extLst>
          </p:cNvPr>
          <p:cNvGrpSpPr/>
          <p:nvPr/>
        </p:nvGrpSpPr>
        <p:grpSpPr>
          <a:xfrm>
            <a:off x="8867507" y="3898304"/>
            <a:ext cx="638443" cy="232611"/>
            <a:chOff x="399782" y="4122392"/>
            <a:chExt cx="638443" cy="232611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57772A6-69C7-47AB-8831-8C75A4CB0FFE}"/>
                </a:ext>
              </a:extLst>
            </p:cNvPr>
            <p:cNvSpPr/>
            <p:nvPr/>
          </p:nvSpPr>
          <p:spPr>
            <a:xfrm>
              <a:off x="404262" y="4131825"/>
              <a:ext cx="633963" cy="20205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3256ADC-4EA9-45B1-B6A9-7CED699DF61B}"/>
                </a:ext>
              </a:extLst>
            </p:cNvPr>
            <p:cNvSpPr/>
            <p:nvPr/>
          </p:nvSpPr>
          <p:spPr>
            <a:xfrm>
              <a:off x="399782" y="4122392"/>
              <a:ext cx="425718" cy="2326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7</a:t>
              </a:r>
            </a:p>
          </p:txBody>
        </p:sp>
        <p:sp>
          <p:nvSpPr>
            <p:cNvPr id="39" name="Star: 5 Points 38">
              <a:extLst>
                <a:ext uri="{FF2B5EF4-FFF2-40B4-BE49-F238E27FC236}">
                  <a16:creationId xmlns:a16="http://schemas.microsoft.com/office/drawing/2014/main" id="{A6FF32F7-807D-4365-8D70-E3E21C18CF93}"/>
                </a:ext>
              </a:extLst>
            </p:cNvPr>
            <p:cNvSpPr/>
            <p:nvPr/>
          </p:nvSpPr>
          <p:spPr>
            <a:xfrm>
              <a:off x="441683" y="4158758"/>
              <a:ext cx="137160" cy="137160"/>
            </a:xfrm>
            <a:prstGeom prst="star5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Arrow: Chevron 39">
              <a:extLst>
                <a:ext uri="{FF2B5EF4-FFF2-40B4-BE49-F238E27FC236}">
                  <a16:creationId xmlns:a16="http://schemas.microsoft.com/office/drawing/2014/main" id="{670D2D78-8C04-49EC-AACA-AF4C4C2AE7A3}"/>
                </a:ext>
              </a:extLst>
            </p:cNvPr>
            <p:cNvSpPr/>
            <p:nvPr/>
          </p:nvSpPr>
          <p:spPr>
            <a:xfrm rot="16200000">
              <a:off x="892176" y="4192977"/>
              <a:ext cx="133350" cy="91440"/>
            </a:xfrm>
            <a:prstGeom prst="chevro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B96BEBB-BC04-4C2A-899F-890D706CA77F}"/>
                </a:ext>
              </a:extLst>
            </p:cNvPr>
            <p:cNvSpPr/>
            <p:nvPr/>
          </p:nvSpPr>
          <p:spPr>
            <a:xfrm>
              <a:off x="912267" y="4173577"/>
              <a:ext cx="91440" cy="7245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16C24D76-78FC-413A-8A88-1C8F36763D7F}"/>
              </a:ext>
            </a:extLst>
          </p:cNvPr>
          <p:cNvSpPr/>
          <p:nvPr/>
        </p:nvSpPr>
        <p:spPr>
          <a:xfrm>
            <a:off x="2756093" y="5359866"/>
            <a:ext cx="606388" cy="699442"/>
          </a:xfrm>
          <a:prstGeom prst="rect">
            <a:avLst/>
          </a:prstGeom>
          <a:solidFill>
            <a:srgbClr val="E37D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bIns="0" rtlCol="0" anchor="b"/>
          <a:lstStyle/>
          <a:p>
            <a:pPr algn="ctr">
              <a:lnSpc>
                <a:spcPct val="80000"/>
              </a:lnSpc>
            </a:pPr>
            <a:endParaRPr lang="en-US" sz="800" u="sng" dirty="0">
              <a:solidFill>
                <a:schemeClr val="bg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CE6999F-0D80-4198-AD63-0367B93DB8A1}"/>
              </a:ext>
            </a:extLst>
          </p:cNvPr>
          <p:cNvSpPr/>
          <p:nvPr/>
        </p:nvSpPr>
        <p:spPr>
          <a:xfrm>
            <a:off x="5109843" y="5359866"/>
            <a:ext cx="606388" cy="699442"/>
          </a:xfrm>
          <a:prstGeom prst="rect">
            <a:avLst/>
          </a:prstGeom>
          <a:solidFill>
            <a:srgbClr val="418D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bIns="0" rtlCol="0" anchor="b"/>
          <a:lstStyle/>
          <a:p>
            <a:pPr algn="ctr">
              <a:lnSpc>
                <a:spcPct val="80000"/>
              </a:lnSpc>
            </a:pPr>
            <a:endParaRPr lang="en-US" sz="800" u="sng" dirty="0">
              <a:solidFill>
                <a:schemeClr val="bg1"/>
              </a:solidFill>
            </a:endParaRPr>
          </a:p>
        </p:txBody>
      </p:sp>
      <p:pic>
        <p:nvPicPr>
          <p:cNvPr id="2050" name="Picture 2" descr="Image result for children portrait">
            <a:extLst>
              <a:ext uri="{FF2B5EF4-FFF2-40B4-BE49-F238E27FC236}">
                <a16:creationId xmlns:a16="http://schemas.microsoft.com/office/drawing/2014/main" id="{B15E03EC-EB5D-4B8B-A672-1CC52EF33F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5180" r="5586" b="32340"/>
          <a:stretch/>
        </p:blipFill>
        <p:spPr bwMode="auto">
          <a:xfrm>
            <a:off x="399502" y="5366286"/>
            <a:ext cx="704088" cy="700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children portrait">
            <a:extLst>
              <a:ext uri="{FF2B5EF4-FFF2-40B4-BE49-F238E27FC236}">
                <a16:creationId xmlns:a16="http://schemas.microsoft.com/office/drawing/2014/main" id="{FC2D9BDD-3575-4117-899F-CFC6C9ABF8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48" t="7377" r="25089" b="19398"/>
          <a:stretch/>
        </p:blipFill>
        <p:spPr bwMode="auto">
          <a:xfrm>
            <a:off x="2753252" y="5359866"/>
            <a:ext cx="704088" cy="705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Image result for children portrait">
            <a:extLst>
              <a:ext uri="{FF2B5EF4-FFF2-40B4-BE49-F238E27FC236}">
                <a16:creationId xmlns:a16="http://schemas.microsoft.com/office/drawing/2014/main" id="{9C74668C-AEC2-48CC-98AE-6D64CAD623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5180" r="5586" b="32340"/>
          <a:stretch/>
        </p:blipFill>
        <p:spPr bwMode="auto">
          <a:xfrm>
            <a:off x="7475923" y="5366286"/>
            <a:ext cx="704088" cy="700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Image result for india children portrait">
            <a:extLst>
              <a:ext uri="{FF2B5EF4-FFF2-40B4-BE49-F238E27FC236}">
                <a16:creationId xmlns:a16="http://schemas.microsoft.com/office/drawing/2014/main" id="{D15F58C8-FCAA-4449-BE7C-A73DB308A3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26" r="15091"/>
          <a:stretch/>
        </p:blipFill>
        <p:spPr bwMode="auto">
          <a:xfrm>
            <a:off x="5119332" y="5357718"/>
            <a:ext cx="704088" cy="70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51604E3C-4E1F-4DA5-9A2E-530B0127E981}"/>
              </a:ext>
            </a:extLst>
          </p:cNvPr>
          <p:cNvSpPr/>
          <p:nvPr/>
        </p:nvSpPr>
        <p:spPr bwMode="auto">
          <a:xfrm>
            <a:off x="259540" y="5317234"/>
            <a:ext cx="2357947" cy="792111"/>
          </a:xfrm>
          <a:prstGeom prst="rect">
            <a:avLst/>
          </a:prstGeom>
          <a:noFill/>
          <a:ln w="28575">
            <a:solidFill>
              <a:srgbClr val="F4433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659F54B-2CF3-46A1-B6A9-67C843D3671F}"/>
              </a:ext>
            </a:extLst>
          </p:cNvPr>
          <p:cNvSpPr/>
          <p:nvPr/>
        </p:nvSpPr>
        <p:spPr bwMode="auto">
          <a:xfrm>
            <a:off x="2604567" y="1412721"/>
            <a:ext cx="4695888" cy="648090"/>
          </a:xfrm>
          <a:prstGeom prst="rect">
            <a:avLst/>
          </a:prstGeom>
          <a:noFill/>
          <a:ln w="28575">
            <a:solidFill>
              <a:srgbClr val="F4433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98EE941-BA9A-463C-AEF5-6B56BF4CB931}"/>
              </a:ext>
            </a:extLst>
          </p:cNvPr>
          <p:cNvSpPr/>
          <p:nvPr/>
        </p:nvSpPr>
        <p:spPr>
          <a:xfrm>
            <a:off x="7034852" y="1134801"/>
            <a:ext cx="1728240" cy="4680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bg1"/>
                </a:solidFill>
              </a:rPr>
              <a:t>4 Topic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096C3DA-B15F-400C-85AB-1F18396E055B}"/>
              </a:ext>
            </a:extLst>
          </p:cNvPr>
          <p:cNvSpPr/>
          <p:nvPr/>
        </p:nvSpPr>
        <p:spPr>
          <a:xfrm>
            <a:off x="610951" y="4870297"/>
            <a:ext cx="1728240" cy="4680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bg1"/>
                </a:solidFill>
              </a:rPr>
              <a:t>UGC</a:t>
            </a:r>
          </a:p>
        </p:txBody>
      </p:sp>
    </p:spTree>
    <p:extLst>
      <p:ext uri="{BB962C8B-B14F-4D97-AF65-F5344CB8AC3E}">
        <p14:creationId xmlns:p14="http://schemas.microsoft.com/office/powerpoint/2010/main" val="70725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45" grpId="0" animBg="1"/>
      <p:bldP spid="47" grpId="0" animBg="1"/>
      <p:bldP spid="4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83FABD-3113-4112-963F-F35FC63370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1"/>
          <a:stretch/>
        </p:blipFill>
        <p:spPr>
          <a:xfrm>
            <a:off x="0" y="362712"/>
            <a:ext cx="9906000" cy="60190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276100-C83E-471E-9068-E7D28D35AD6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09"/>
          <a:stretch/>
        </p:blipFill>
        <p:spPr>
          <a:xfrm>
            <a:off x="-1" y="923924"/>
            <a:ext cx="9902952" cy="553291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350D9DA-DE37-4E26-8426-70C1C66658E9}"/>
              </a:ext>
            </a:extLst>
          </p:cNvPr>
          <p:cNvSpPr/>
          <p:nvPr/>
        </p:nvSpPr>
        <p:spPr>
          <a:xfrm>
            <a:off x="3513138" y="6202363"/>
            <a:ext cx="1085850" cy="220661"/>
          </a:xfrm>
          <a:prstGeom prst="rect">
            <a:avLst/>
          </a:prstGeom>
          <a:solidFill>
            <a:srgbClr val="FFCE00"/>
          </a:solidFill>
          <a:ln>
            <a:solidFill>
              <a:srgbClr val="FFC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70000"/>
              </a:lnSpc>
            </a:pPr>
            <a:r>
              <a:rPr lang="en-US" sz="1050" dirty="0">
                <a:solidFill>
                  <a:schemeClr val="tx1"/>
                </a:solidFill>
              </a:rPr>
              <a:t>Inter School Debate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F9B0ED45-4DA6-4FB1-ABDB-4FC520E261CD}"/>
              </a:ext>
            </a:extLst>
          </p:cNvPr>
          <p:cNvSpPr/>
          <p:nvPr/>
        </p:nvSpPr>
        <p:spPr>
          <a:xfrm>
            <a:off x="4548606" y="5203387"/>
            <a:ext cx="822960" cy="822960"/>
          </a:xfrm>
          <a:prstGeom prst="blockArc">
            <a:avLst>
              <a:gd name="adj1" fmla="val 8125885"/>
              <a:gd name="adj2" fmla="val 21569031"/>
              <a:gd name="adj3" fmla="val 1112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FD6723-2E4F-42E7-BEE9-6000FF888CC5}"/>
              </a:ext>
            </a:extLst>
          </p:cNvPr>
          <p:cNvSpPr/>
          <p:nvPr/>
        </p:nvSpPr>
        <p:spPr>
          <a:xfrm>
            <a:off x="4591150" y="5495487"/>
            <a:ext cx="737871" cy="238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</a:rPr>
              <a:t>1 hr </a:t>
            </a:r>
          </a:p>
          <a:p>
            <a:pPr algn="ctr"/>
            <a:r>
              <a:rPr lang="en-US" sz="1050" dirty="0">
                <a:solidFill>
                  <a:schemeClr val="bg1"/>
                </a:solidFill>
              </a:rPr>
              <a:t>41 mi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2BA770-7BE2-487A-A677-0EBE81F0166E}"/>
              </a:ext>
            </a:extLst>
          </p:cNvPr>
          <p:cNvSpPr/>
          <p:nvPr/>
        </p:nvSpPr>
        <p:spPr>
          <a:xfrm>
            <a:off x="2733407" y="3963642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accent4"/>
                </a:solidFill>
              </a:rPr>
              <a:t>4.5</a:t>
            </a:r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4E36B4E7-FE5B-4ED8-8B23-7DD60DA3892A}"/>
              </a:ext>
            </a:extLst>
          </p:cNvPr>
          <p:cNvSpPr/>
          <p:nvPr/>
        </p:nvSpPr>
        <p:spPr>
          <a:xfrm>
            <a:off x="2775308" y="4000008"/>
            <a:ext cx="137160" cy="13716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985A4C-E64F-4D48-B955-D74B813F159F}"/>
              </a:ext>
            </a:extLst>
          </p:cNvPr>
          <p:cNvSpPr/>
          <p:nvPr/>
        </p:nvSpPr>
        <p:spPr>
          <a:xfrm>
            <a:off x="5818631" y="3965234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accent4"/>
                </a:solidFill>
              </a:rPr>
              <a:t>4.7</a:t>
            </a:r>
          </a:p>
        </p:txBody>
      </p:sp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1461C12E-C9D3-442E-A345-5772BC1ACB25}"/>
              </a:ext>
            </a:extLst>
          </p:cNvPr>
          <p:cNvSpPr/>
          <p:nvPr/>
        </p:nvSpPr>
        <p:spPr>
          <a:xfrm>
            <a:off x="5860532" y="4001600"/>
            <a:ext cx="137160" cy="13716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538928-54A9-427C-BC9F-98435B73339B}"/>
              </a:ext>
            </a:extLst>
          </p:cNvPr>
          <p:cNvSpPr/>
          <p:nvPr/>
        </p:nvSpPr>
        <p:spPr>
          <a:xfrm>
            <a:off x="8893939" y="3958344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accent4"/>
                </a:solidFill>
              </a:rPr>
              <a:t>5.0</a:t>
            </a: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A0467A91-83E2-4848-A66F-F3E7D6B70847}"/>
              </a:ext>
            </a:extLst>
          </p:cNvPr>
          <p:cNvSpPr/>
          <p:nvPr/>
        </p:nvSpPr>
        <p:spPr>
          <a:xfrm>
            <a:off x="8935840" y="3994710"/>
            <a:ext cx="137160" cy="13716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4B0C47-C2C8-4D6C-9294-67813D8BD0FE}"/>
              </a:ext>
            </a:extLst>
          </p:cNvPr>
          <p:cNvSpPr/>
          <p:nvPr/>
        </p:nvSpPr>
        <p:spPr>
          <a:xfrm>
            <a:off x="2733410" y="6203076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accent4"/>
                </a:solidFill>
              </a:rPr>
              <a:t>4.7</a:t>
            </a:r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BA0F9A3B-7678-480B-BDAB-C5134185EEA1}"/>
              </a:ext>
            </a:extLst>
          </p:cNvPr>
          <p:cNvSpPr/>
          <p:nvPr/>
        </p:nvSpPr>
        <p:spPr>
          <a:xfrm>
            <a:off x="2775311" y="6239442"/>
            <a:ext cx="137160" cy="13716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F49D923-27A1-4BED-865E-61EB644D818E}"/>
              </a:ext>
            </a:extLst>
          </p:cNvPr>
          <p:cNvSpPr/>
          <p:nvPr/>
        </p:nvSpPr>
        <p:spPr>
          <a:xfrm>
            <a:off x="8893942" y="6197778"/>
            <a:ext cx="425718" cy="232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900" dirty="0">
                <a:solidFill>
                  <a:schemeClr val="tx1"/>
                </a:solidFill>
              </a:rPr>
              <a:t>4.5</a:t>
            </a: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A5406609-8999-4F26-83B5-5110A5B9C140}"/>
              </a:ext>
            </a:extLst>
          </p:cNvPr>
          <p:cNvSpPr/>
          <p:nvPr/>
        </p:nvSpPr>
        <p:spPr>
          <a:xfrm>
            <a:off x="8935843" y="6234144"/>
            <a:ext cx="137160" cy="137160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95A76692-20AD-468C-BA9A-CA7B1DF855FB}"/>
              </a:ext>
            </a:extLst>
          </p:cNvPr>
          <p:cNvSpPr/>
          <p:nvPr/>
        </p:nvSpPr>
        <p:spPr>
          <a:xfrm rot="16200000">
            <a:off x="9342484" y="4035811"/>
            <a:ext cx="133350" cy="91440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6CFF446-A8A1-47E3-8F6E-58AA690BD8ED}"/>
              </a:ext>
            </a:extLst>
          </p:cNvPr>
          <p:cNvSpPr/>
          <p:nvPr/>
        </p:nvSpPr>
        <p:spPr>
          <a:xfrm>
            <a:off x="9362575" y="4016411"/>
            <a:ext cx="91440" cy="724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E7B5308B-6822-4DFF-A0AF-FBDA2FA7E86F}"/>
              </a:ext>
            </a:extLst>
          </p:cNvPr>
          <p:cNvSpPr/>
          <p:nvPr/>
        </p:nvSpPr>
        <p:spPr>
          <a:xfrm rot="16200000">
            <a:off x="9342484" y="6258909"/>
            <a:ext cx="133350" cy="91440"/>
          </a:xfrm>
          <a:prstGeom prst="chevr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6E22244-BD87-4956-A95C-640255EB924A}"/>
              </a:ext>
            </a:extLst>
          </p:cNvPr>
          <p:cNvSpPr/>
          <p:nvPr/>
        </p:nvSpPr>
        <p:spPr>
          <a:xfrm>
            <a:off x="9362575" y="6239509"/>
            <a:ext cx="91440" cy="7245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F63D139B-C1D7-4437-8F9B-231F2DF9DBA2}"/>
              </a:ext>
            </a:extLst>
          </p:cNvPr>
          <p:cNvSpPr/>
          <p:nvPr/>
        </p:nvSpPr>
        <p:spPr>
          <a:xfrm rot="16200000">
            <a:off x="3183288" y="4038984"/>
            <a:ext cx="133350" cy="91440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C85F0A-2481-4047-8688-AFE5514DA71D}"/>
              </a:ext>
            </a:extLst>
          </p:cNvPr>
          <p:cNvSpPr/>
          <p:nvPr/>
        </p:nvSpPr>
        <p:spPr>
          <a:xfrm>
            <a:off x="3203379" y="4019584"/>
            <a:ext cx="91440" cy="724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761AC2DA-B419-4907-B337-733C08467431}"/>
              </a:ext>
            </a:extLst>
          </p:cNvPr>
          <p:cNvSpPr/>
          <p:nvPr/>
        </p:nvSpPr>
        <p:spPr>
          <a:xfrm rot="16200000">
            <a:off x="3183288" y="6262082"/>
            <a:ext cx="133350" cy="91440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AEB45B3-E6E3-407D-B97B-DA445F9A5C8D}"/>
              </a:ext>
            </a:extLst>
          </p:cNvPr>
          <p:cNvSpPr/>
          <p:nvPr/>
        </p:nvSpPr>
        <p:spPr>
          <a:xfrm>
            <a:off x="3203379" y="6242682"/>
            <a:ext cx="91440" cy="724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526C1763-8151-4C48-8699-034AA50B4C64}"/>
              </a:ext>
            </a:extLst>
          </p:cNvPr>
          <p:cNvSpPr/>
          <p:nvPr/>
        </p:nvSpPr>
        <p:spPr>
          <a:xfrm rot="16200000">
            <a:off x="6282501" y="4043218"/>
            <a:ext cx="133350" cy="91440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535927-A9C0-4727-A5A4-C226B54DE2D5}"/>
              </a:ext>
            </a:extLst>
          </p:cNvPr>
          <p:cNvSpPr/>
          <p:nvPr/>
        </p:nvSpPr>
        <p:spPr>
          <a:xfrm>
            <a:off x="6302592" y="4023818"/>
            <a:ext cx="91440" cy="724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0DE0BBE-D9EF-41F0-8EAE-6CBB2A1FB596}"/>
              </a:ext>
            </a:extLst>
          </p:cNvPr>
          <p:cNvSpPr/>
          <p:nvPr/>
        </p:nvSpPr>
        <p:spPr bwMode="auto">
          <a:xfrm>
            <a:off x="325310" y="2060811"/>
            <a:ext cx="3090672" cy="2661926"/>
          </a:xfrm>
          <a:prstGeom prst="rect">
            <a:avLst/>
          </a:prstGeom>
          <a:noFill/>
          <a:ln w="28575">
            <a:solidFill>
              <a:srgbClr val="F4433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F27238D-599D-44B4-9673-194DCC702F66}"/>
              </a:ext>
            </a:extLst>
          </p:cNvPr>
          <p:cNvSpPr/>
          <p:nvPr/>
        </p:nvSpPr>
        <p:spPr bwMode="auto">
          <a:xfrm>
            <a:off x="3135387" y="1412721"/>
            <a:ext cx="3108961" cy="573005"/>
          </a:xfrm>
          <a:prstGeom prst="rect">
            <a:avLst/>
          </a:prstGeom>
          <a:noFill/>
          <a:ln w="28575">
            <a:solidFill>
              <a:srgbClr val="F4433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AF8535B-67E9-4D8B-92C3-CE922CC580DA}"/>
              </a:ext>
            </a:extLst>
          </p:cNvPr>
          <p:cNvSpPr/>
          <p:nvPr/>
        </p:nvSpPr>
        <p:spPr>
          <a:xfrm>
            <a:off x="1476003" y="1465190"/>
            <a:ext cx="1728240" cy="4680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bg1"/>
                </a:solidFill>
              </a:rPr>
              <a:t>‘Create Game’ featur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063915C-566D-439C-98B8-51FCBF0C2686}"/>
              </a:ext>
            </a:extLst>
          </p:cNvPr>
          <p:cNvSpPr/>
          <p:nvPr/>
        </p:nvSpPr>
        <p:spPr>
          <a:xfrm>
            <a:off x="3359701" y="2116137"/>
            <a:ext cx="1728240" cy="46806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bg1"/>
                </a:solidFill>
              </a:rPr>
              <a:t>Live Games</a:t>
            </a:r>
          </a:p>
        </p:txBody>
      </p:sp>
      <p:sp>
        <p:nvSpPr>
          <p:cNvPr id="40" name="Rectangle 29">
            <a:hlinkClick r:id="rId4" action="ppaction://hlinksldjump"/>
            <a:extLst>
              <a:ext uri="{FF2B5EF4-FFF2-40B4-BE49-F238E27FC236}">
                <a16:creationId xmlns:a16="http://schemas.microsoft.com/office/drawing/2014/main" id="{A27A6B9A-A7C8-4809-85AE-74D3B9D8D6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4798" y="6456835"/>
            <a:ext cx="1088153" cy="401165"/>
          </a:xfrm>
          <a:prstGeom prst="rect">
            <a:avLst/>
          </a:prstGeom>
          <a:solidFill>
            <a:srgbClr val="FFFF00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 dirty="0">
                <a:latin typeface="Calibri"/>
                <a:cs typeface="Calibri" pitchFamily="34" charset="0"/>
              </a:rPr>
              <a:t>&lt;&lt; BACK</a:t>
            </a:r>
            <a:endParaRPr kumimoji="0" lang="en-GB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805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 animBg="1"/>
      <p:bldP spid="37" grpId="0" animBg="1"/>
      <p:bldP spid="3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C0900A2-4B5C-4F6C-887B-69A196DEAB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101615"/>
              </p:ext>
            </p:extLst>
          </p:nvPr>
        </p:nvGraphicFramePr>
        <p:xfrm>
          <a:off x="158755" y="2423393"/>
          <a:ext cx="3200400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0400">
                  <a:extLst>
                    <a:ext uri="{9D8B030D-6E8A-4147-A177-3AD203B41FA5}">
                      <a16:colId xmlns:a16="http://schemas.microsoft.com/office/drawing/2014/main" val="85461434"/>
                    </a:ext>
                  </a:extLst>
                </a:gridCol>
              </a:tblGrid>
              <a:tr h="137160"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278914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22798C11-E056-430E-A638-F226E5C9BD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393568"/>
              </p:ext>
            </p:extLst>
          </p:nvPr>
        </p:nvGraphicFramePr>
        <p:xfrm>
          <a:off x="3503175" y="2423393"/>
          <a:ext cx="3136856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36856">
                  <a:extLst>
                    <a:ext uri="{9D8B030D-6E8A-4147-A177-3AD203B41FA5}">
                      <a16:colId xmlns:a16="http://schemas.microsoft.com/office/drawing/2014/main" val="85461434"/>
                    </a:ext>
                  </a:extLst>
                </a:gridCol>
              </a:tblGrid>
              <a:tr h="137160"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2789140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C28108A1-7908-4D53-B0EA-F65C82D065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2678866"/>
              </p:ext>
            </p:extLst>
          </p:nvPr>
        </p:nvGraphicFramePr>
        <p:xfrm>
          <a:off x="6767119" y="2423393"/>
          <a:ext cx="3003471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3471">
                  <a:extLst>
                    <a:ext uri="{9D8B030D-6E8A-4147-A177-3AD203B41FA5}">
                      <a16:colId xmlns:a16="http://schemas.microsoft.com/office/drawing/2014/main" val="85461434"/>
                    </a:ext>
                  </a:extLst>
                </a:gridCol>
              </a:tblGrid>
              <a:tr h="137160"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2789140"/>
                  </a:ext>
                </a:extLst>
              </a:tr>
            </a:tbl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31E7809D-5263-40E0-8631-4B205A9937DA}"/>
              </a:ext>
            </a:extLst>
          </p:cNvPr>
          <p:cNvSpPr/>
          <p:nvPr/>
        </p:nvSpPr>
        <p:spPr bwMode="auto">
          <a:xfrm>
            <a:off x="3503175" y="3327505"/>
            <a:ext cx="3108960" cy="286232"/>
          </a:xfrm>
          <a:prstGeom prst="rect">
            <a:avLst/>
          </a:prstGeom>
          <a:solidFill>
            <a:srgbClr val="FFFF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E2779B9-1F60-41ED-AEF0-59701661DA89}"/>
              </a:ext>
            </a:extLst>
          </p:cNvPr>
          <p:cNvSpPr txBox="1"/>
          <p:nvPr/>
        </p:nvSpPr>
        <p:spPr bwMode="auto">
          <a:xfrm>
            <a:off x="3503175" y="2552618"/>
            <a:ext cx="3200400" cy="1306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Objective :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Understand Value Proposition preferences &amp; browsing behavior</a:t>
            </a:r>
          </a:p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Format :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Web Survey</a:t>
            </a:r>
          </a:p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ample Size : 2200+ Student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097AE3B-0F8F-49C5-A700-FB08B74B3C8F}"/>
              </a:ext>
            </a:extLst>
          </p:cNvPr>
          <p:cNvSpPr/>
          <p:nvPr/>
        </p:nvSpPr>
        <p:spPr bwMode="auto">
          <a:xfrm>
            <a:off x="6844510" y="3618085"/>
            <a:ext cx="2803489" cy="672000"/>
          </a:xfrm>
          <a:prstGeom prst="rect">
            <a:avLst/>
          </a:prstGeom>
          <a:solidFill>
            <a:srgbClr val="FFFF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B56B54-B48A-461A-86B8-26F6119EE211}"/>
              </a:ext>
            </a:extLst>
          </p:cNvPr>
          <p:cNvSpPr/>
          <p:nvPr/>
        </p:nvSpPr>
        <p:spPr bwMode="auto">
          <a:xfrm>
            <a:off x="158755" y="3831575"/>
            <a:ext cx="3056379" cy="452925"/>
          </a:xfrm>
          <a:prstGeom prst="rect">
            <a:avLst/>
          </a:prstGeom>
          <a:solidFill>
            <a:srgbClr val="FFFF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6015D3-8605-425B-A643-7C18F58A3730}"/>
              </a:ext>
            </a:extLst>
          </p:cNvPr>
          <p:cNvSpPr txBox="1"/>
          <p:nvPr/>
        </p:nvSpPr>
        <p:spPr bwMode="auto">
          <a:xfrm>
            <a:off x="158755" y="2553737"/>
            <a:ext cx="3200400" cy="1811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Objective : </a:t>
            </a:r>
            <a:r>
              <a:rPr lang="en-US" sz="1400" dirty="0">
                <a:latin typeface="Calibri" pitchFamily="34" charset="0"/>
                <a:cs typeface="Calibri" pitchFamily="34" charset="0"/>
              </a:rPr>
              <a:t>Why students visit websites, choice of format, and channel &amp; browsing patterns</a:t>
            </a:r>
            <a:endParaRPr lang="en-US" sz="1400" b="1" dirty="0"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114000"/>
              </a:lnSpc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Format : </a:t>
            </a:r>
            <a:r>
              <a:rPr lang="en-US" sz="1400" dirty="0">
                <a:latin typeface="Calibri" pitchFamily="34" charset="0"/>
                <a:cs typeface="Calibri" pitchFamily="34" charset="0"/>
              </a:rPr>
              <a:t>Questionnaire &amp; Focus Group Discussion</a:t>
            </a:r>
          </a:p>
          <a:p>
            <a:pPr>
              <a:lnSpc>
                <a:spcPct val="114000"/>
              </a:lnSpc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Cities : </a:t>
            </a:r>
            <a:r>
              <a:rPr lang="en-US" sz="1400" dirty="0">
                <a:latin typeface="Calibri" pitchFamily="34" charset="0"/>
                <a:cs typeface="Calibri" pitchFamily="34" charset="0"/>
              </a:rPr>
              <a:t>Mumbai &amp; Delhi</a:t>
            </a:r>
          </a:p>
          <a:p>
            <a:pPr>
              <a:lnSpc>
                <a:spcPct val="114000"/>
              </a:lnSpc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Sample Size : 41 Students &amp; 13 Teach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E59524-22B8-4678-8C63-5669A58AF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ring the </a:t>
            </a:r>
            <a:r>
              <a:rPr lang="en-US" b="1" dirty="0"/>
              <a:t>3</a:t>
            </a:r>
            <a:r>
              <a:rPr lang="en-US" b="1" baseline="30000" dirty="0"/>
              <a:t>rd</a:t>
            </a:r>
            <a:r>
              <a:rPr lang="en-US" b="1" dirty="0"/>
              <a:t> VOC Survey</a:t>
            </a:r>
            <a:r>
              <a:rPr lang="en-US" dirty="0"/>
              <a:t>, we conducted focus interviews of 87 student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EE2C4B-E112-45EC-8D5A-F2E11804F0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85888B"/>
                </a:solidFill>
              </a:rPr>
              <a:t>Copyright © 2017 Capgemini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CC403E-F763-4EF8-BCF6-9ED02440CA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3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7E9FFC-481F-4AA5-BE84-0B0B14D0754A}"/>
              </a:ext>
            </a:extLst>
          </p:cNvPr>
          <p:cNvSpPr txBox="1"/>
          <p:nvPr/>
        </p:nvSpPr>
        <p:spPr bwMode="auto">
          <a:xfrm>
            <a:off x="393252" y="1743574"/>
            <a:ext cx="931240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ducted </a:t>
            </a:r>
            <a:r>
              <a:rPr lang="en-US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3 Voice of Customer Surveys </a:t>
            </a:r>
            <a:r>
              <a:rPr lang="en-US" sz="16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for inputs from Primary Audience i.e. Students. </a:t>
            </a:r>
          </a:p>
          <a:p>
            <a:pPr algn="ctr"/>
            <a:r>
              <a:rPr lang="en-US" sz="16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Students were grouped by Grades (5</a:t>
            </a:r>
            <a:r>
              <a:rPr lang="en-US" sz="1600" baseline="300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th</a:t>
            </a:r>
            <a:r>
              <a:rPr lang="en-US" sz="16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-6</a:t>
            </a:r>
            <a:r>
              <a:rPr lang="en-US" sz="1600" baseline="300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th</a:t>
            </a:r>
            <a:r>
              <a:rPr lang="en-US" sz="16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 , 7</a:t>
            </a:r>
            <a:r>
              <a:rPr lang="en-US" sz="1600" baseline="300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th</a:t>
            </a:r>
            <a:r>
              <a:rPr lang="en-US" sz="16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-8</a:t>
            </a:r>
            <a:r>
              <a:rPr lang="en-US" sz="1600" baseline="300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th</a:t>
            </a:r>
            <a:r>
              <a:rPr lang="en-US" sz="16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 and 9</a:t>
            </a:r>
            <a:r>
              <a:rPr lang="en-US" sz="1600" baseline="300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th</a:t>
            </a:r>
            <a:r>
              <a:rPr lang="en-US" sz="16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+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8B67C4-BCDD-4B6F-9610-F735BBFE7BEF}"/>
              </a:ext>
            </a:extLst>
          </p:cNvPr>
          <p:cNvSpPr txBox="1"/>
          <p:nvPr/>
        </p:nvSpPr>
        <p:spPr bwMode="auto">
          <a:xfrm>
            <a:off x="1421235" y="2279105"/>
            <a:ext cx="723185" cy="286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VOC - 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B9A4525-F346-4E75-A646-5BDEEAFE9F5E}"/>
              </a:ext>
            </a:extLst>
          </p:cNvPr>
          <p:cNvSpPr txBox="1"/>
          <p:nvPr/>
        </p:nvSpPr>
        <p:spPr bwMode="auto">
          <a:xfrm>
            <a:off x="4612200" y="2279105"/>
            <a:ext cx="763235" cy="286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VOC - 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9A4F249-07D7-43BC-8107-A45C9FB5151C}"/>
              </a:ext>
            </a:extLst>
          </p:cNvPr>
          <p:cNvSpPr txBox="1"/>
          <p:nvPr/>
        </p:nvSpPr>
        <p:spPr bwMode="auto">
          <a:xfrm>
            <a:off x="7996670" y="2279105"/>
            <a:ext cx="763235" cy="286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VOC - 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EF618A5-DF70-474F-9C5C-624B4C122FD8}"/>
              </a:ext>
            </a:extLst>
          </p:cNvPr>
          <p:cNvSpPr txBox="1"/>
          <p:nvPr/>
        </p:nvSpPr>
        <p:spPr bwMode="auto">
          <a:xfrm>
            <a:off x="6844510" y="2552617"/>
            <a:ext cx="2926080" cy="1737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Objective : </a:t>
            </a:r>
            <a:r>
              <a:rPr lang="en-US" sz="1400" dirty="0">
                <a:latin typeface="Calibri" pitchFamily="34" charset="0"/>
                <a:cs typeface="Calibri" pitchFamily="34" charset="0"/>
              </a:rPr>
              <a:t>Validate features of future website </a:t>
            </a:r>
          </a:p>
          <a:p>
            <a:pPr>
              <a:lnSpc>
                <a:spcPct val="114000"/>
              </a:lnSpc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Format : </a:t>
            </a:r>
            <a:r>
              <a:rPr lang="en-US" sz="1400" dirty="0">
                <a:latin typeface="Calibri" pitchFamily="34" charset="0"/>
                <a:cs typeface="Calibri" pitchFamily="34" charset="0"/>
              </a:rPr>
              <a:t>Prototype Images &amp; Questionnaire</a:t>
            </a:r>
          </a:p>
          <a:p>
            <a:pPr>
              <a:lnSpc>
                <a:spcPct val="114000"/>
              </a:lnSpc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Cities : </a:t>
            </a:r>
            <a:r>
              <a:rPr lang="en-US" sz="1400" dirty="0">
                <a:latin typeface="Calibri" pitchFamily="34" charset="0"/>
                <a:cs typeface="Calibri" pitchFamily="34" charset="0"/>
              </a:rPr>
              <a:t>Mumbai, Delhi NCR, Jaipur, Chandigarh, Cochin and Bangalore</a:t>
            </a:r>
          </a:p>
          <a:p>
            <a:pPr>
              <a:lnSpc>
                <a:spcPct val="114000"/>
              </a:lnSpc>
            </a:pPr>
            <a:r>
              <a:rPr lang="en-US" sz="1400" b="1" dirty="0">
                <a:latin typeface="Calibri" pitchFamily="34" charset="0"/>
                <a:cs typeface="Calibri" pitchFamily="34" charset="0"/>
              </a:rPr>
              <a:t>Sample Size : 87 Students</a:t>
            </a:r>
          </a:p>
        </p:txBody>
      </p:sp>
    </p:spTree>
    <p:extLst>
      <p:ext uri="{BB962C8B-B14F-4D97-AF65-F5344CB8AC3E}">
        <p14:creationId xmlns:p14="http://schemas.microsoft.com/office/powerpoint/2010/main" val="1841294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>
            <a:extLst>
              <a:ext uri="{FF2B5EF4-FFF2-40B4-BE49-F238E27FC236}">
                <a16:creationId xmlns:a16="http://schemas.microsoft.com/office/drawing/2014/main" id="{9C2B31BA-C9F0-4DD0-812B-0CF6C0E0662F}"/>
              </a:ext>
            </a:extLst>
          </p:cNvPr>
          <p:cNvGrpSpPr/>
          <p:nvPr/>
        </p:nvGrpSpPr>
        <p:grpSpPr>
          <a:xfrm>
            <a:off x="585896" y="324521"/>
            <a:ext cx="8975744" cy="6272919"/>
            <a:chOff x="585896" y="324521"/>
            <a:chExt cx="8975744" cy="6272919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B1D5935-8CFE-4EF3-A104-8D2CD882AE7D}"/>
                </a:ext>
              </a:extLst>
            </p:cNvPr>
            <p:cNvGrpSpPr/>
            <p:nvPr/>
          </p:nvGrpSpPr>
          <p:grpSpPr>
            <a:xfrm>
              <a:off x="585896" y="324521"/>
              <a:ext cx="8975744" cy="5780252"/>
              <a:chOff x="473987" y="503741"/>
              <a:chExt cx="8975744" cy="5780252"/>
            </a:xfrm>
          </p:grpSpPr>
          <p:sp>
            <p:nvSpPr>
              <p:cNvPr id="6" name="Freeform 5"/>
              <p:cNvSpPr/>
              <p:nvPr/>
            </p:nvSpPr>
            <p:spPr>
              <a:xfrm>
                <a:off x="3336448" y="4440832"/>
                <a:ext cx="3211852" cy="1723417"/>
              </a:xfrm>
              <a:custGeom>
                <a:avLst/>
                <a:gdLst>
                  <a:gd name="connsiteX0" fmla="*/ 0 w 3913949"/>
                  <a:gd name="connsiteY0" fmla="*/ 1799379 h 1799379"/>
                  <a:gd name="connsiteX1" fmla="*/ 1231513 w 3913949"/>
                  <a:gd name="connsiteY1" fmla="*/ 0 h 1799379"/>
                  <a:gd name="connsiteX2" fmla="*/ 2682436 w 3913949"/>
                  <a:gd name="connsiteY2" fmla="*/ 0 h 1799379"/>
                  <a:gd name="connsiteX3" fmla="*/ 3913949 w 3913949"/>
                  <a:gd name="connsiteY3" fmla="*/ 1799379 h 1799379"/>
                  <a:gd name="connsiteX4" fmla="*/ 0 w 3913949"/>
                  <a:gd name="connsiteY4" fmla="*/ 1799379 h 1799379"/>
                  <a:gd name="connsiteX0" fmla="*/ 0 w 3913949"/>
                  <a:gd name="connsiteY0" fmla="*/ 2015173 h 2015173"/>
                  <a:gd name="connsiteX1" fmla="*/ 1231513 w 3913949"/>
                  <a:gd name="connsiteY1" fmla="*/ 215794 h 2015173"/>
                  <a:gd name="connsiteX2" fmla="*/ 2369246 w 3913949"/>
                  <a:gd name="connsiteY2" fmla="*/ 0 h 2015173"/>
                  <a:gd name="connsiteX3" fmla="*/ 3913949 w 3913949"/>
                  <a:gd name="connsiteY3" fmla="*/ 2015173 h 2015173"/>
                  <a:gd name="connsiteX4" fmla="*/ 0 w 3913949"/>
                  <a:gd name="connsiteY4" fmla="*/ 2015173 h 2015173"/>
                  <a:gd name="connsiteX0" fmla="*/ 0 w 3810288"/>
                  <a:gd name="connsiteY0" fmla="*/ 2015173 h 2023745"/>
                  <a:gd name="connsiteX1" fmla="*/ 1231513 w 3810288"/>
                  <a:gd name="connsiteY1" fmla="*/ 215794 h 2023745"/>
                  <a:gd name="connsiteX2" fmla="*/ 2369246 w 3810288"/>
                  <a:gd name="connsiteY2" fmla="*/ 0 h 2023745"/>
                  <a:gd name="connsiteX3" fmla="*/ 3810288 w 3810288"/>
                  <a:gd name="connsiteY3" fmla="*/ 2023745 h 2023745"/>
                  <a:gd name="connsiteX4" fmla="*/ 0 w 3810288"/>
                  <a:gd name="connsiteY4" fmla="*/ 2015173 h 2023745"/>
                  <a:gd name="connsiteX0" fmla="*/ 0 w 3848388"/>
                  <a:gd name="connsiteY0" fmla="*/ 2015173 h 2026920"/>
                  <a:gd name="connsiteX1" fmla="*/ 1231513 w 3848388"/>
                  <a:gd name="connsiteY1" fmla="*/ 215794 h 2026920"/>
                  <a:gd name="connsiteX2" fmla="*/ 2369246 w 3848388"/>
                  <a:gd name="connsiteY2" fmla="*/ 0 h 2026920"/>
                  <a:gd name="connsiteX3" fmla="*/ 3848388 w 3848388"/>
                  <a:gd name="connsiteY3" fmla="*/ 2026920 h 2026920"/>
                  <a:gd name="connsiteX4" fmla="*/ 0 w 3848388"/>
                  <a:gd name="connsiteY4" fmla="*/ 2015173 h 2026920"/>
                  <a:gd name="connsiteX0" fmla="*/ 0 w 3810288"/>
                  <a:gd name="connsiteY0" fmla="*/ 2015173 h 2015173"/>
                  <a:gd name="connsiteX1" fmla="*/ 1231513 w 3810288"/>
                  <a:gd name="connsiteY1" fmla="*/ 215794 h 2015173"/>
                  <a:gd name="connsiteX2" fmla="*/ 2369246 w 3810288"/>
                  <a:gd name="connsiteY2" fmla="*/ 0 h 2015173"/>
                  <a:gd name="connsiteX3" fmla="*/ 3810288 w 3810288"/>
                  <a:gd name="connsiteY3" fmla="*/ 1973579 h 2015173"/>
                  <a:gd name="connsiteX4" fmla="*/ 0 w 3810288"/>
                  <a:gd name="connsiteY4" fmla="*/ 2015173 h 2015173"/>
                  <a:gd name="connsiteX0" fmla="*/ 0 w 3802380"/>
                  <a:gd name="connsiteY0" fmla="*/ 1973580 h 1973580"/>
                  <a:gd name="connsiteX1" fmla="*/ 1223605 w 3802380"/>
                  <a:gd name="connsiteY1" fmla="*/ 215794 h 1973580"/>
                  <a:gd name="connsiteX2" fmla="*/ 2361338 w 3802380"/>
                  <a:gd name="connsiteY2" fmla="*/ 0 h 1973580"/>
                  <a:gd name="connsiteX3" fmla="*/ 3802380 w 3802380"/>
                  <a:gd name="connsiteY3" fmla="*/ 1973579 h 1973580"/>
                  <a:gd name="connsiteX4" fmla="*/ 0 w 3802380"/>
                  <a:gd name="connsiteY4" fmla="*/ 1973580 h 1973580"/>
                  <a:gd name="connsiteX0" fmla="*/ 0 w 3802380"/>
                  <a:gd name="connsiteY0" fmla="*/ 1973580 h 1973580"/>
                  <a:gd name="connsiteX1" fmla="*/ 1541745 w 3802380"/>
                  <a:gd name="connsiteY1" fmla="*/ 1654 h 1973580"/>
                  <a:gd name="connsiteX2" fmla="*/ 2361338 w 3802380"/>
                  <a:gd name="connsiteY2" fmla="*/ 0 h 1973580"/>
                  <a:gd name="connsiteX3" fmla="*/ 3802380 w 3802380"/>
                  <a:gd name="connsiteY3" fmla="*/ 1973579 h 1973580"/>
                  <a:gd name="connsiteX4" fmla="*/ 0 w 3802380"/>
                  <a:gd name="connsiteY4" fmla="*/ 1973580 h 1973580"/>
                  <a:gd name="connsiteX0" fmla="*/ 0 w 3680460"/>
                  <a:gd name="connsiteY0" fmla="*/ 1973580 h 1973580"/>
                  <a:gd name="connsiteX1" fmla="*/ 1419825 w 3680460"/>
                  <a:gd name="connsiteY1" fmla="*/ 1654 h 1973580"/>
                  <a:gd name="connsiteX2" fmla="*/ 2239418 w 3680460"/>
                  <a:gd name="connsiteY2" fmla="*/ 0 h 1973580"/>
                  <a:gd name="connsiteX3" fmla="*/ 3680460 w 3680460"/>
                  <a:gd name="connsiteY3" fmla="*/ 1973579 h 1973580"/>
                  <a:gd name="connsiteX4" fmla="*/ 0 w 3680460"/>
                  <a:gd name="connsiteY4" fmla="*/ 1973580 h 1973580"/>
                  <a:gd name="connsiteX0" fmla="*/ 0 w 3642688"/>
                  <a:gd name="connsiteY0" fmla="*/ 1943148 h 1973579"/>
                  <a:gd name="connsiteX1" fmla="*/ 1382053 w 3642688"/>
                  <a:gd name="connsiteY1" fmla="*/ 1654 h 1973579"/>
                  <a:gd name="connsiteX2" fmla="*/ 2201646 w 3642688"/>
                  <a:gd name="connsiteY2" fmla="*/ 0 h 1973579"/>
                  <a:gd name="connsiteX3" fmla="*/ 3642688 w 3642688"/>
                  <a:gd name="connsiteY3" fmla="*/ 1973579 h 1973579"/>
                  <a:gd name="connsiteX4" fmla="*/ 0 w 3642688"/>
                  <a:gd name="connsiteY4" fmla="*/ 1943148 h 1973579"/>
                  <a:gd name="connsiteX0" fmla="*/ 0 w 3597390"/>
                  <a:gd name="connsiteY0" fmla="*/ 1943148 h 1943149"/>
                  <a:gd name="connsiteX1" fmla="*/ 1382053 w 3597390"/>
                  <a:gd name="connsiteY1" fmla="*/ 1654 h 1943149"/>
                  <a:gd name="connsiteX2" fmla="*/ 2201646 w 3597390"/>
                  <a:gd name="connsiteY2" fmla="*/ 0 h 1943149"/>
                  <a:gd name="connsiteX3" fmla="*/ 3597390 w 3597390"/>
                  <a:gd name="connsiteY3" fmla="*/ 1943149 h 1943149"/>
                  <a:gd name="connsiteX4" fmla="*/ 0 w 3597390"/>
                  <a:gd name="connsiteY4" fmla="*/ 1943148 h 194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97390" h="1943149">
                    <a:moveTo>
                      <a:pt x="0" y="1943148"/>
                    </a:moveTo>
                    <a:lnTo>
                      <a:pt x="1382053" y="1654"/>
                    </a:lnTo>
                    <a:lnTo>
                      <a:pt x="2201646" y="0"/>
                    </a:lnTo>
                    <a:lnTo>
                      <a:pt x="3597390" y="1943149"/>
                    </a:lnTo>
                    <a:lnTo>
                      <a:pt x="0" y="1943148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7" name="Freeform 6"/>
              <p:cNvSpPr/>
              <p:nvPr/>
            </p:nvSpPr>
            <p:spPr>
              <a:xfrm rot="15971043" flipH="1">
                <a:off x="5585468" y="2455912"/>
                <a:ext cx="3647981" cy="3978592"/>
              </a:xfrm>
              <a:custGeom>
                <a:avLst/>
                <a:gdLst>
                  <a:gd name="connsiteX0" fmla="*/ 0 w 2160300"/>
                  <a:gd name="connsiteY0" fmla="*/ 2315012 h 2315012"/>
                  <a:gd name="connsiteX1" fmla="*/ 540075 w 2160300"/>
                  <a:gd name="connsiteY1" fmla="*/ 0 h 2315012"/>
                  <a:gd name="connsiteX2" fmla="*/ 1620225 w 2160300"/>
                  <a:gd name="connsiteY2" fmla="*/ 0 h 2315012"/>
                  <a:gd name="connsiteX3" fmla="*/ 2160300 w 2160300"/>
                  <a:gd name="connsiteY3" fmla="*/ 2315012 h 2315012"/>
                  <a:gd name="connsiteX4" fmla="*/ 0 w 2160300"/>
                  <a:gd name="connsiteY4" fmla="*/ 2315012 h 2315012"/>
                  <a:gd name="connsiteX0" fmla="*/ 0 w 2299601"/>
                  <a:gd name="connsiteY0" fmla="*/ 2677096 h 2677096"/>
                  <a:gd name="connsiteX1" fmla="*/ 679376 w 2299601"/>
                  <a:gd name="connsiteY1" fmla="*/ 0 h 2677096"/>
                  <a:gd name="connsiteX2" fmla="*/ 1759526 w 2299601"/>
                  <a:gd name="connsiteY2" fmla="*/ 0 h 2677096"/>
                  <a:gd name="connsiteX3" fmla="*/ 2299601 w 2299601"/>
                  <a:gd name="connsiteY3" fmla="*/ 2315012 h 2677096"/>
                  <a:gd name="connsiteX4" fmla="*/ 0 w 2299601"/>
                  <a:gd name="connsiteY4" fmla="*/ 2677096 h 2677096"/>
                  <a:gd name="connsiteX0" fmla="*/ 0 w 3840279"/>
                  <a:gd name="connsiteY0" fmla="*/ 2677096 h 2677096"/>
                  <a:gd name="connsiteX1" fmla="*/ 679376 w 3840279"/>
                  <a:gd name="connsiteY1" fmla="*/ 0 h 2677096"/>
                  <a:gd name="connsiteX2" fmla="*/ 1759526 w 3840279"/>
                  <a:gd name="connsiteY2" fmla="*/ 0 h 2677096"/>
                  <a:gd name="connsiteX3" fmla="*/ 3840279 w 3840279"/>
                  <a:gd name="connsiteY3" fmla="*/ 2483000 h 2677096"/>
                  <a:gd name="connsiteX4" fmla="*/ 0 w 3840279"/>
                  <a:gd name="connsiteY4" fmla="*/ 2677096 h 2677096"/>
                  <a:gd name="connsiteX0" fmla="*/ 0 w 3836160"/>
                  <a:gd name="connsiteY0" fmla="*/ 2738870 h 2738870"/>
                  <a:gd name="connsiteX1" fmla="*/ 675257 w 3836160"/>
                  <a:gd name="connsiteY1" fmla="*/ 0 h 2738870"/>
                  <a:gd name="connsiteX2" fmla="*/ 1755407 w 3836160"/>
                  <a:gd name="connsiteY2" fmla="*/ 0 h 2738870"/>
                  <a:gd name="connsiteX3" fmla="*/ 3836160 w 3836160"/>
                  <a:gd name="connsiteY3" fmla="*/ 2483000 h 2738870"/>
                  <a:gd name="connsiteX4" fmla="*/ 0 w 3836160"/>
                  <a:gd name="connsiteY4" fmla="*/ 2738870 h 2738870"/>
                  <a:gd name="connsiteX0" fmla="*/ 0 w 3836160"/>
                  <a:gd name="connsiteY0" fmla="*/ 3601435 h 3601435"/>
                  <a:gd name="connsiteX1" fmla="*/ 675257 w 3836160"/>
                  <a:gd name="connsiteY1" fmla="*/ 862565 h 3601435"/>
                  <a:gd name="connsiteX2" fmla="*/ 1840573 w 3836160"/>
                  <a:gd name="connsiteY2" fmla="*/ 0 h 3601435"/>
                  <a:gd name="connsiteX3" fmla="*/ 3836160 w 3836160"/>
                  <a:gd name="connsiteY3" fmla="*/ 3345565 h 3601435"/>
                  <a:gd name="connsiteX4" fmla="*/ 0 w 3836160"/>
                  <a:gd name="connsiteY4" fmla="*/ 3601435 h 3601435"/>
                  <a:gd name="connsiteX0" fmla="*/ 0 w 3836160"/>
                  <a:gd name="connsiteY0" fmla="*/ 3601435 h 3601435"/>
                  <a:gd name="connsiteX1" fmla="*/ 675257 w 3836160"/>
                  <a:gd name="connsiteY1" fmla="*/ 862565 h 3601435"/>
                  <a:gd name="connsiteX2" fmla="*/ 1840573 w 3836160"/>
                  <a:gd name="connsiteY2" fmla="*/ 0 h 3601435"/>
                  <a:gd name="connsiteX3" fmla="*/ 1993999 w 3836160"/>
                  <a:gd name="connsiteY3" fmla="*/ 286947 h 3601435"/>
                  <a:gd name="connsiteX4" fmla="*/ 3836160 w 3836160"/>
                  <a:gd name="connsiteY4" fmla="*/ 3345565 h 3601435"/>
                  <a:gd name="connsiteX5" fmla="*/ 0 w 3836160"/>
                  <a:gd name="connsiteY5" fmla="*/ 3601435 h 3601435"/>
                  <a:gd name="connsiteX0" fmla="*/ 0 w 3836160"/>
                  <a:gd name="connsiteY0" fmla="*/ 3601435 h 3601435"/>
                  <a:gd name="connsiteX1" fmla="*/ 675257 w 3836160"/>
                  <a:gd name="connsiteY1" fmla="*/ 862565 h 3601435"/>
                  <a:gd name="connsiteX2" fmla="*/ 1840573 w 3836160"/>
                  <a:gd name="connsiteY2" fmla="*/ 0 h 3601435"/>
                  <a:gd name="connsiteX3" fmla="*/ 2379766 w 3836160"/>
                  <a:gd name="connsiteY3" fmla="*/ 190358 h 3601435"/>
                  <a:gd name="connsiteX4" fmla="*/ 3836160 w 3836160"/>
                  <a:gd name="connsiteY4" fmla="*/ 3345565 h 3601435"/>
                  <a:gd name="connsiteX5" fmla="*/ 0 w 3836160"/>
                  <a:gd name="connsiteY5" fmla="*/ 3601435 h 3601435"/>
                  <a:gd name="connsiteX0" fmla="*/ 0 w 3836160"/>
                  <a:gd name="connsiteY0" fmla="*/ 3709222 h 3709222"/>
                  <a:gd name="connsiteX1" fmla="*/ 675257 w 3836160"/>
                  <a:gd name="connsiteY1" fmla="*/ 970352 h 3709222"/>
                  <a:gd name="connsiteX2" fmla="*/ 1616010 w 3836160"/>
                  <a:gd name="connsiteY2" fmla="*/ 0 h 3709222"/>
                  <a:gd name="connsiteX3" fmla="*/ 2379766 w 3836160"/>
                  <a:gd name="connsiteY3" fmla="*/ 298145 h 3709222"/>
                  <a:gd name="connsiteX4" fmla="*/ 3836160 w 3836160"/>
                  <a:gd name="connsiteY4" fmla="*/ 3453352 h 3709222"/>
                  <a:gd name="connsiteX5" fmla="*/ 0 w 3836160"/>
                  <a:gd name="connsiteY5" fmla="*/ 3709222 h 3709222"/>
                  <a:gd name="connsiteX0" fmla="*/ 0 w 3836160"/>
                  <a:gd name="connsiteY0" fmla="*/ 3709222 h 3709222"/>
                  <a:gd name="connsiteX1" fmla="*/ 509765 w 3836160"/>
                  <a:gd name="connsiteY1" fmla="*/ 1094769 h 3709222"/>
                  <a:gd name="connsiteX2" fmla="*/ 1616010 w 3836160"/>
                  <a:gd name="connsiteY2" fmla="*/ 0 h 3709222"/>
                  <a:gd name="connsiteX3" fmla="*/ 2379766 w 3836160"/>
                  <a:gd name="connsiteY3" fmla="*/ 298145 h 3709222"/>
                  <a:gd name="connsiteX4" fmla="*/ 3836160 w 3836160"/>
                  <a:gd name="connsiteY4" fmla="*/ 3453352 h 3709222"/>
                  <a:gd name="connsiteX5" fmla="*/ 0 w 3836160"/>
                  <a:gd name="connsiteY5" fmla="*/ 3709222 h 3709222"/>
                  <a:gd name="connsiteX0" fmla="*/ 0 w 3869710"/>
                  <a:gd name="connsiteY0" fmla="*/ 3649410 h 3649410"/>
                  <a:gd name="connsiteX1" fmla="*/ 543315 w 3869710"/>
                  <a:gd name="connsiteY1" fmla="*/ 1094769 h 3649410"/>
                  <a:gd name="connsiteX2" fmla="*/ 1649560 w 3869710"/>
                  <a:gd name="connsiteY2" fmla="*/ 0 h 3649410"/>
                  <a:gd name="connsiteX3" fmla="*/ 2413316 w 3869710"/>
                  <a:gd name="connsiteY3" fmla="*/ 298145 h 3649410"/>
                  <a:gd name="connsiteX4" fmla="*/ 3869710 w 3869710"/>
                  <a:gd name="connsiteY4" fmla="*/ 3453352 h 3649410"/>
                  <a:gd name="connsiteX5" fmla="*/ 0 w 3869710"/>
                  <a:gd name="connsiteY5" fmla="*/ 3649410 h 3649410"/>
                  <a:gd name="connsiteX0" fmla="*/ 0 w 3865590"/>
                  <a:gd name="connsiteY0" fmla="*/ 3711185 h 3711185"/>
                  <a:gd name="connsiteX1" fmla="*/ 539195 w 3865590"/>
                  <a:gd name="connsiteY1" fmla="*/ 1094769 h 3711185"/>
                  <a:gd name="connsiteX2" fmla="*/ 1645440 w 3865590"/>
                  <a:gd name="connsiteY2" fmla="*/ 0 h 3711185"/>
                  <a:gd name="connsiteX3" fmla="*/ 2409196 w 3865590"/>
                  <a:gd name="connsiteY3" fmla="*/ 298145 h 3711185"/>
                  <a:gd name="connsiteX4" fmla="*/ 3865590 w 3865590"/>
                  <a:gd name="connsiteY4" fmla="*/ 3453352 h 3711185"/>
                  <a:gd name="connsiteX5" fmla="*/ 0 w 3865590"/>
                  <a:gd name="connsiteY5" fmla="*/ 3711185 h 3711185"/>
                  <a:gd name="connsiteX0" fmla="*/ 0 w 3698452"/>
                  <a:gd name="connsiteY0" fmla="*/ 3711185 h 3711185"/>
                  <a:gd name="connsiteX1" fmla="*/ 539195 w 3698452"/>
                  <a:gd name="connsiteY1" fmla="*/ 1094769 h 3711185"/>
                  <a:gd name="connsiteX2" fmla="*/ 1645440 w 3698452"/>
                  <a:gd name="connsiteY2" fmla="*/ 0 h 3711185"/>
                  <a:gd name="connsiteX3" fmla="*/ 2409196 w 3698452"/>
                  <a:gd name="connsiteY3" fmla="*/ 298145 h 3711185"/>
                  <a:gd name="connsiteX4" fmla="*/ 3698452 w 3698452"/>
                  <a:gd name="connsiteY4" fmla="*/ 1390703 h 3711185"/>
                  <a:gd name="connsiteX5" fmla="*/ 0 w 3698452"/>
                  <a:gd name="connsiteY5" fmla="*/ 3711185 h 3711185"/>
                  <a:gd name="connsiteX0" fmla="*/ 0 w 3698452"/>
                  <a:gd name="connsiteY0" fmla="*/ 3774611 h 3774611"/>
                  <a:gd name="connsiteX1" fmla="*/ 539195 w 3698452"/>
                  <a:gd name="connsiteY1" fmla="*/ 1158195 h 3774611"/>
                  <a:gd name="connsiteX2" fmla="*/ 1740338 w 3698452"/>
                  <a:gd name="connsiteY2" fmla="*/ 0 h 3774611"/>
                  <a:gd name="connsiteX3" fmla="*/ 2409196 w 3698452"/>
                  <a:gd name="connsiteY3" fmla="*/ 361571 h 3774611"/>
                  <a:gd name="connsiteX4" fmla="*/ 3698452 w 3698452"/>
                  <a:gd name="connsiteY4" fmla="*/ 1454129 h 3774611"/>
                  <a:gd name="connsiteX5" fmla="*/ 0 w 3698452"/>
                  <a:gd name="connsiteY5" fmla="*/ 3774611 h 3774611"/>
                  <a:gd name="connsiteX0" fmla="*/ 0 w 3698452"/>
                  <a:gd name="connsiteY0" fmla="*/ 3774611 h 3774611"/>
                  <a:gd name="connsiteX1" fmla="*/ 539195 w 3698452"/>
                  <a:gd name="connsiteY1" fmla="*/ 1158195 h 3774611"/>
                  <a:gd name="connsiteX2" fmla="*/ 1740338 w 3698452"/>
                  <a:gd name="connsiteY2" fmla="*/ 0 h 3774611"/>
                  <a:gd name="connsiteX3" fmla="*/ 2468195 w 3698452"/>
                  <a:gd name="connsiteY3" fmla="*/ 486037 h 3774611"/>
                  <a:gd name="connsiteX4" fmla="*/ 3698452 w 3698452"/>
                  <a:gd name="connsiteY4" fmla="*/ 1454129 h 3774611"/>
                  <a:gd name="connsiteX5" fmla="*/ 0 w 3698452"/>
                  <a:gd name="connsiteY5" fmla="*/ 3774611 h 3774611"/>
                  <a:gd name="connsiteX0" fmla="*/ 0 w 3698452"/>
                  <a:gd name="connsiteY0" fmla="*/ 3774611 h 3774611"/>
                  <a:gd name="connsiteX1" fmla="*/ 539195 w 3698452"/>
                  <a:gd name="connsiteY1" fmla="*/ 1158195 h 3774611"/>
                  <a:gd name="connsiteX2" fmla="*/ 1740338 w 3698452"/>
                  <a:gd name="connsiteY2" fmla="*/ 0 h 3774611"/>
                  <a:gd name="connsiteX3" fmla="*/ 2468195 w 3698452"/>
                  <a:gd name="connsiteY3" fmla="*/ 486037 h 3774611"/>
                  <a:gd name="connsiteX4" fmla="*/ 3698452 w 3698452"/>
                  <a:gd name="connsiteY4" fmla="*/ 1454129 h 3774611"/>
                  <a:gd name="connsiteX5" fmla="*/ 2013687 w 3698452"/>
                  <a:gd name="connsiteY5" fmla="*/ 2528172 h 3774611"/>
                  <a:gd name="connsiteX6" fmla="*/ 0 w 3698452"/>
                  <a:gd name="connsiteY6" fmla="*/ 3774611 h 3774611"/>
                  <a:gd name="connsiteX0" fmla="*/ 0 w 3891419"/>
                  <a:gd name="connsiteY0" fmla="*/ 3774611 h 3774611"/>
                  <a:gd name="connsiteX1" fmla="*/ 539195 w 3891419"/>
                  <a:gd name="connsiteY1" fmla="*/ 1158195 h 3774611"/>
                  <a:gd name="connsiteX2" fmla="*/ 1740338 w 3891419"/>
                  <a:gd name="connsiteY2" fmla="*/ 0 h 3774611"/>
                  <a:gd name="connsiteX3" fmla="*/ 2468195 w 3891419"/>
                  <a:gd name="connsiteY3" fmla="*/ 486037 h 3774611"/>
                  <a:gd name="connsiteX4" fmla="*/ 3698452 w 3891419"/>
                  <a:gd name="connsiteY4" fmla="*/ 1454129 h 3774611"/>
                  <a:gd name="connsiteX5" fmla="*/ 3891419 w 3891419"/>
                  <a:gd name="connsiteY5" fmla="*/ 3515056 h 3774611"/>
                  <a:gd name="connsiteX6" fmla="*/ 0 w 3891419"/>
                  <a:gd name="connsiteY6" fmla="*/ 3774611 h 3774611"/>
                  <a:gd name="connsiteX0" fmla="*/ 0 w 3891419"/>
                  <a:gd name="connsiteY0" fmla="*/ 3774611 h 3774611"/>
                  <a:gd name="connsiteX1" fmla="*/ 534216 w 3891419"/>
                  <a:gd name="connsiteY1" fmla="*/ 1040162 h 3774611"/>
                  <a:gd name="connsiteX2" fmla="*/ 1740338 w 3891419"/>
                  <a:gd name="connsiteY2" fmla="*/ 0 h 3774611"/>
                  <a:gd name="connsiteX3" fmla="*/ 2468195 w 3891419"/>
                  <a:gd name="connsiteY3" fmla="*/ 486037 h 3774611"/>
                  <a:gd name="connsiteX4" fmla="*/ 3698452 w 3891419"/>
                  <a:gd name="connsiteY4" fmla="*/ 1454129 h 3774611"/>
                  <a:gd name="connsiteX5" fmla="*/ 3891419 w 3891419"/>
                  <a:gd name="connsiteY5" fmla="*/ 3515056 h 3774611"/>
                  <a:gd name="connsiteX6" fmla="*/ 0 w 3891419"/>
                  <a:gd name="connsiteY6" fmla="*/ 3774611 h 3774611"/>
                  <a:gd name="connsiteX0" fmla="*/ 0 w 3891419"/>
                  <a:gd name="connsiteY0" fmla="*/ 3760662 h 3760662"/>
                  <a:gd name="connsiteX1" fmla="*/ 534216 w 3891419"/>
                  <a:gd name="connsiteY1" fmla="*/ 1026213 h 3760662"/>
                  <a:gd name="connsiteX2" fmla="*/ 1616716 w 3891419"/>
                  <a:gd name="connsiteY2" fmla="*/ 0 h 3760662"/>
                  <a:gd name="connsiteX3" fmla="*/ 2468195 w 3891419"/>
                  <a:gd name="connsiteY3" fmla="*/ 472088 h 3760662"/>
                  <a:gd name="connsiteX4" fmla="*/ 3698452 w 3891419"/>
                  <a:gd name="connsiteY4" fmla="*/ 1440180 h 3760662"/>
                  <a:gd name="connsiteX5" fmla="*/ 3891419 w 3891419"/>
                  <a:gd name="connsiteY5" fmla="*/ 3501107 h 3760662"/>
                  <a:gd name="connsiteX6" fmla="*/ 0 w 3891419"/>
                  <a:gd name="connsiteY6" fmla="*/ 3760662 h 3760662"/>
                  <a:gd name="connsiteX0" fmla="*/ 0 w 3891419"/>
                  <a:gd name="connsiteY0" fmla="*/ 3760662 h 3760662"/>
                  <a:gd name="connsiteX1" fmla="*/ 534216 w 3891419"/>
                  <a:gd name="connsiteY1" fmla="*/ 1026213 h 3760662"/>
                  <a:gd name="connsiteX2" fmla="*/ 1616716 w 3891419"/>
                  <a:gd name="connsiteY2" fmla="*/ 0 h 3760662"/>
                  <a:gd name="connsiteX3" fmla="*/ 2462515 w 3891419"/>
                  <a:gd name="connsiteY3" fmla="*/ 344825 h 3760662"/>
                  <a:gd name="connsiteX4" fmla="*/ 3698452 w 3891419"/>
                  <a:gd name="connsiteY4" fmla="*/ 1440180 h 3760662"/>
                  <a:gd name="connsiteX5" fmla="*/ 3891419 w 3891419"/>
                  <a:gd name="connsiteY5" fmla="*/ 3501107 h 3760662"/>
                  <a:gd name="connsiteX6" fmla="*/ 0 w 3891419"/>
                  <a:gd name="connsiteY6" fmla="*/ 3760662 h 3760662"/>
                  <a:gd name="connsiteX0" fmla="*/ 0 w 3885821"/>
                  <a:gd name="connsiteY0" fmla="*/ 3838140 h 3838140"/>
                  <a:gd name="connsiteX1" fmla="*/ 528618 w 3885821"/>
                  <a:gd name="connsiteY1" fmla="*/ 1026213 h 3838140"/>
                  <a:gd name="connsiteX2" fmla="*/ 1611118 w 3885821"/>
                  <a:gd name="connsiteY2" fmla="*/ 0 h 3838140"/>
                  <a:gd name="connsiteX3" fmla="*/ 2456917 w 3885821"/>
                  <a:gd name="connsiteY3" fmla="*/ 344825 h 3838140"/>
                  <a:gd name="connsiteX4" fmla="*/ 3692854 w 3885821"/>
                  <a:gd name="connsiteY4" fmla="*/ 1440180 h 3838140"/>
                  <a:gd name="connsiteX5" fmla="*/ 3885821 w 3885821"/>
                  <a:gd name="connsiteY5" fmla="*/ 3501107 h 3838140"/>
                  <a:gd name="connsiteX6" fmla="*/ 0 w 3885821"/>
                  <a:gd name="connsiteY6" fmla="*/ 3838140 h 3838140"/>
                  <a:gd name="connsiteX0" fmla="*/ 0 w 3856681"/>
                  <a:gd name="connsiteY0" fmla="*/ 3838140 h 3838140"/>
                  <a:gd name="connsiteX1" fmla="*/ 528618 w 3856681"/>
                  <a:gd name="connsiteY1" fmla="*/ 1026213 h 3838140"/>
                  <a:gd name="connsiteX2" fmla="*/ 1611118 w 3856681"/>
                  <a:gd name="connsiteY2" fmla="*/ 0 h 3838140"/>
                  <a:gd name="connsiteX3" fmla="*/ 2456917 w 3856681"/>
                  <a:gd name="connsiteY3" fmla="*/ 344825 h 3838140"/>
                  <a:gd name="connsiteX4" fmla="*/ 3692854 w 3856681"/>
                  <a:gd name="connsiteY4" fmla="*/ 1440180 h 3838140"/>
                  <a:gd name="connsiteX5" fmla="*/ 3856681 w 3856681"/>
                  <a:gd name="connsiteY5" fmla="*/ 3600689 h 3838140"/>
                  <a:gd name="connsiteX6" fmla="*/ 0 w 3856681"/>
                  <a:gd name="connsiteY6" fmla="*/ 3838140 h 3838140"/>
                  <a:gd name="connsiteX0" fmla="*/ 0 w 3856681"/>
                  <a:gd name="connsiteY0" fmla="*/ 3838140 h 3838140"/>
                  <a:gd name="connsiteX1" fmla="*/ 528618 w 3856681"/>
                  <a:gd name="connsiteY1" fmla="*/ 1026213 h 3838140"/>
                  <a:gd name="connsiteX2" fmla="*/ 1611118 w 3856681"/>
                  <a:gd name="connsiteY2" fmla="*/ 0 h 3838140"/>
                  <a:gd name="connsiteX3" fmla="*/ 2456917 w 3856681"/>
                  <a:gd name="connsiteY3" fmla="*/ 344825 h 3838140"/>
                  <a:gd name="connsiteX4" fmla="*/ 3704052 w 3856681"/>
                  <a:gd name="connsiteY4" fmla="*/ 1488393 h 3838140"/>
                  <a:gd name="connsiteX5" fmla="*/ 3856681 w 3856681"/>
                  <a:gd name="connsiteY5" fmla="*/ 3600689 h 3838140"/>
                  <a:gd name="connsiteX6" fmla="*/ 0 w 3856681"/>
                  <a:gd name="connsiteY6" fmla="*/ 3838140 h 3838140"/>
                  <a:gd name="connsiteX0" fmla="*/ 0 w 3856681"/>
                  <a:gd name="connsiteY0" fmla="*/ 3838140 h 3838140"/>
                  <a:gd name="connsiteX1" fmla="*/ 528618 w 3856681"/>
                  <a:gd name="connsiteY1" fmla="*/ 1026213 h 3838140"/>
                  <a:gd name="connsiteX2" fmla="*/ 1611118 w 3856681"/>
                  <a:gd name="connsiteY2" fmla="*/ 0 h 3838140"/>
                  <a:gd name="connsiteX3" fmla="*/ 3704052 w 3856681"/>
                  <a:gd name="connsiteY3" fmla="*/ 1488393 h 3838140"/>
                  <a:gd name="connsiteX4" fmla="*/ 3856681 w 3856681"/>
                  <a:gd name="connsiteY4" fmla="*/ 3600689 h 3838140"/>
                  <a:gd name="connsiteX5" fmla="*/ 0 w 3856681"/>
                  <a:gd name="connsiteY5" fmla="*/ 3838140 h 3838140"/>
                  <a:gd name="connsiteX0" fmla="*/ 0 w 3856681"/>
                  <a:gd name="connsiteY0" fmla="*/ 3986812 h 3986812"/>
                  <a:gd name="connsiteX1" fmla="*/ 528618 w 3856681"/>
                  <a:gd name="connsiteY1" fmla="*/ 1174885 h 3986812"/>
                  <a:gd name="connsiteX2" fmla="*/ 1600012 w 3856681"/>
                  <a:gd name="connsiteY2" fmla="*/ 0 h 3986812"/>
                  <a:gd name="connsiteX3" fmla="*/ 3704052 w 3856681"/>
                  <a:gd name="connsiteY3" fmla="*/ 1637065 h 3986812"/>
                  <a:gd name="connsiteX4" fmla="*/ 3856681 w 3856681"/>
                  <a:gd name="connsiteY4" fmla="*/ 3749361 h 3986812"/>
                  <a:gd name="connsiteX5" fmla="*/ 0 w 3856681"/>
                  <a:gd name="connsiteY5" fmla="*/ 3986812 h 3986812"/>
                  <a:gd name="connsiteX0" fmla="*/ 0 w 3856681"/>
                  <a:gd name="connsiteY0" fmla="*/ 3986812 h 3986812"/>
                  <a:gd name="connsiteX1" fmla="*/ 528618 w 3856681"/>
                  <a:gd name="connsiteY1" fmla="*/ 1174885 h 3986812"/>
                  <a:gd name="connsiteX2" fmla="*/ 1600012 w 3856681"/>
                  <a:gd name="connsiteY2" fmla="*/ 0 h 3986812"/>
                  <a:gd name="connsiteX3" fmla="*/ 3770803 w 3856681"/>
                  <a:gd name="connsiteY3" fmla="*/ 1274325 h 3986812"/>
                  <a:gd name="connsiteX4" fmla="*/ 3856681 w 3856681"/>
                  <a:gd name="connsiteY4" fmla="*/ 3749361 h 3986812"/>
                  <a:gd name="connsiteX5" fmla="*/ 0 w 3856681"/>
                  <a:gd name="connsiteY5" fmla="*/ 3986812 h 3986812"/>
                  <a:gd name="connsiteX0" fmla="*/ 0 w 3856681"/>
                  <a:gd name="connsiteY0" fmla="*/ 3986812 h 3986812"/>
                  <a:gd name="connsiteX1" fmla="*/ 528618 w 3856681"/>
                  <a:gd name="connsiteY1" fmla="*/ 1174885 h 3986812"/>
                  <a:gd name="connsiteX2" fmla="*/ 1600012 w 3856681"/>
                  <a:gd name="connsiteY2" fmla="*/ 0 h 3986812"/>
                  <a:gd name="connsiteX3" fmla="*/ 3669307 w 3856681"/>
                  <a:gd name="connsiteY3" fmla="*/ 1219405 h 3986812"/>
                  <a:gd name="connsiteX4" fmla="*/ 3856681 w 3856681"/>
                  <a:gd name="connsiteY4" fmla="*/ 3749361 h 3986812"/>
                  <a:gd name="connsiteX5" fmla="*/ 0 w 3856681"/>
                  <a:gd name="connsiteY5" fmla="*/ 3986812 h 3986812"/>
                  <a:gd name="connsiteX0" fmla="*/ 0 w 3856681"/>
                  <a:gd name="connsiteY0" fmla="*/ 3986812 h 3986812"/>
                  <a:gd name="connsiteX1" fmla="*/ 706841 w 3856681"/>
                  <a:gd name="connsiteY1" fmla="*/ 426571 h 3986812"/>
                  <a:gd name="connsiteX2" fmla="*/ 1600012 w 3856681"/>
                  <a:gd name="connsiteY2" fmla="*/ 0 h 3986812"/>
                  <a:gd name="connsiteX3" fmla="*/ 3669307 w 3856681"/>
                  <a:gd name="connsiteY3" fmla="*/ 1219405 h 3986812"/>
                  <a:gd name="connsiteX4" fmla="*/ 3856681 w 3856681"/>
                  <a:gd name="connsiteY4" fmla="*/ 3749361 h 3986812"/>
                  <a:gd name="connsiteX5" fmla="*/ 0 w 3856681"/>
                  <a:gd name="connsiteY5" fmla="*/ 3986812 h 3986812"/>
                  <a:gd name="connsiteX0" fmla="*/ 0 w 4047565"/>
                  <a:gd name="connsiteY0" fmla="*/ 3962058 h 3962058"/>
                  <a:gd name="connsiteX1" fmla="*/ 897725 w 4047565"/>
                  <a:gd name="connsiteY1" fmla="*/ 426571 h 3962058"/>
                  <a:gd name="connsiteX2" fmla="*/ 1790896 w 4047565"/>
                  <a:gd name="connsiteY2" fmla="*/ 0 h 3962058"/>
                  <a:gd name="connsiteX3" fmla="*/ 3860191 w 4047565"/>
                  <a:gd name="connsiteY3" fmla="*/ 1219405 h 3962058"/>
                  <a:gd name="connsiteX4" fmla="*/ 4047565 w 4047565"/>
                  <a:gd name="connsiteY4" fmla="*/ 3749361 h 3962058"/>
                  <a:gd name="connsiteX5" fmla="*/ 0 w 4047565"/>
                  <a:gd name="connsiteY5" fmla="*/ 3962058 h 3962058"/>
                  <a:gd name="connsiteX0" fmla="*/ 0 w 4020790"/>
                  <a:gd name="connsiteY0" fmla="*/ 3991043 h 3991043"/>
                  <a:gd name="connsiteX1" fmla="*/ 870950 w 4020790"/>
                  <a:gd name="connsiteY1" fmla="*/ 426571 h 3991043"/>
                  <a:gd name="connsiteX2" fmla="*/ 1764121 w 4020790"/>
                  <a:gd name="connsiteY2" fmla="*/ 0 h 3991043"/>
                  <a:gd name="connsiteX3" fmla="*/ 3833416 w 4020790"/>
                  <a:gd name="connsiteY3" fmla="*/ 1219405 h 3991043"/>
                  <a:gd name="connsiteX4" fmla="*/ 4020790 w 4020790"/>
                  <a:gd name="connsiteY4" fmla="*/ 3749361 h 3991043"/>
                  <a:gd name="connsiteX5" fmla="*/ 0 w 4020790"/>
                  <a:gd name="connsiteY5" fmla="*/ 3991043 h 3991043"/>
                  <a:gd name="connsiteX0" fmla="*/ 0 w 4059403"/>
                  <a:gd name="connsiteY0" fmla="*/ 3995183 h 3995183"/>
                  <a:gd name="connsiteX1" fmla="*/ 909563 w 4059403"/>
                  <a:gd name="connsiteY1" fmla="*/ 426571 h 3995183"/>
                  <a:gd name="connsiteX2" fmla="*/ 1802734 w 4059403"/>
                  <a:gd name="connsiteY2" fmla="*/ 0 h 3995183"/>
                  <a:gd name="connsiteX3" fmla="*/ 3872029 w 4059403"/>
                  <a:gd name="connsiteY3" fmla="*/ 1219405 h 3995183"/>
                  <a:gd name="connsiteX4" fmla="*/ 4059403 w 4059403"/>
                  <a:gd name="connsiteY4" fmla="*/ 3749361 h 3995183"/>
                  <a:gd name="connsiteX5" fmla="*/ 0 w 4059403"/>
                  <a:gd name="connsiteY5" fmla="*/ 3995183 h 3995183"/>
                  <a:gd name="connsiteX0" fmla="*/ 0 w 4105402"/>
                  <a:gd name="connsiteY0" fmla="*/ 3992728 h 3992728"/>
                  <a:gd name="connsiteX1" fmla="*/ 955562 w 4105402"/>
                  <a:gd name="connsiteY1" fmla="*/ 426571 h 3992728"/>
                  <a:gd name="connsiteX2" fmla="*/ 1848733 w 4105402"/>
                  <a:gd name="connsiteY2" fmla="*/ 0 h 3992728"/>
                  <a:gd name="connsiteX3" fmla="*/ 3918028 w 4105402"/>
                  <a:gd name="connsiteY3" fmla="*/ 1219405 h 3992728"/>
                  <a:gd name="connsiteX4" fmla="*/ 4105402 w 4105402"/>
                  <a:gd name="connsiteY4" fmla="*/ 3749361 h 3992728"/>
                  <a:gd name="connsiteX5" fmla="*/ 0 w 4105402"/>
                  <a:gd name="connsiteY5" fmla="*/ 3992728 h 3992728"/>
                  <a:gd name="connsiteX0" fmla="*/ 0 w 4059150"/>
                  <a:gd name="connsiteY0" fmla="*/ 3998693 h 3998693"/>
                  <a:gd name="connsiteX1" fmla="*/ 909310 w 4059150"/>
                  <a:gd name="connsiteY1" fmla="*/ 426571 h 3998693"/>
                  <a:gd name="connsiteX2" fmla="*/ 1802481 w 4059150"/>
                  <a:gd name="connsiteY2" fmla="*/ 0 h 3998693"/>
                  <a:gd name="connsiteX3" fmla="*/ 3871776 w 4059150"/>
                  <a:gd name="connsiteY3" fmla="*/ 1219405 h 3998693"/>
                  <a:gd name="connsiteX4" fmla="*/ 4059150 w 4059150"/>
                  <a:gd name="connsiteY4" fmla="*/ 3749361 h 3998693"/>
                  <a:gd name="connsiteX5" fmla="*/ 0 w 4059150"/>
                  <a:gd name="connsiteY5" fmla="*/ 3998693 h 3998693"/>
                  <a:gd name="connsiteX0" fmla="*/ 0 w 4127450"/>
                  <a:gd name="connsiteY0" fmla="*/ 4004661 h 4004661"/>
                  <a:gd name="connsiteX1" fmla="*/ 977610 w 4127450"/>
                  <a:gd name="connsiteY1" fmla="*/ 426571 h 4004661"/>
                  <a:gd name="connsiteX2" fmla="*/ 1870781 w 4127450"/>
                  <a:gd name="connsiteY2" fmla="*/ 0 h 4004661"/>
                  <a:gd name="connsiteX3" fmla="*/ 3940076 w 4127450"/>
                  <a:gd name="connsiteY3" fmla="*/ 1219405 h 4004661"/>
                  <a:gd name="connsiteX4" fmla="*/ 4127450 w 4127450"/>
                  <a:gd name="connsiteY4" fmla="*/ 3749361 h 4004661"/>
                  <a:gd name="connsiteX5" fmla="*/ 0 w 4127450"/>
                  <a:gd name="connsiteY5" fmla="*/ 4004661 h 4004661"/>
                  <a:gd name="connsiteX0" fmla="*/ 0 w 4096405"/>
                  <a:gd name="connsiteY0" fmla="*/ 4011562 h 4011562"/>
                  <a:gd name="connsiteX1" fmla="*/ 946565 w 4096405"/>
                  <a:gd name="connsiteY1" fmla="*/ 426571 h 4011562"/>
                  <a:gd name="connsiteX2" fmla="*/ 1839736 w 4096405"/>
                  <a:gd name="connsiteY2" fmla="*/ 0 h 4011562"/>
                  <a:gd name="connsiteX3" fmla="*/ 3909031 w 4096405"/>
                  <a:gd name="connsiteY3" fmla="*/ 1219405 h 4011562"/>
                  <a:gd name="connsiteX4" fmla="*/ 4096405 w 4096405"/>
                  <a:gd name="connsiteY4" fmla="*/ 3749361 h 4011562"/>
                  <a:gd name="connsiteX5" fmla="*/ 0 w 4096405"/>
                  <a:gd name="connsiteY5" fmla="*/ 4011562 h 4011562"/>
                  <a:gd name="connsiteX0" fmla="*/ 0 w 4142266"/>
                  <a:gd name="connsiteY0" fmla="*/ 4113385 h 4113385"/>
                  <a:gd name="connsiteX1" fmla="*/ 992426 w 4142266"/>
                  <a:gd name="connsiteY1" fmla="*/ 426571 h 4113385"/>
                  <a:gd name="connsiteX2" fmla="*/ 1885597 w 4142266"/>
                  <a:gd name="connsiteY2" fmla="*/ 0 h 4113385"/>
                  <a:gd name="connsiteX3" fmla="*/ 3954892 w 4142266"/>
                  <a:gd name="connsiteY3" fmla="*/ 1219405 h 4113385"/>
                  <a:gd name="connsiteX4" fmla="*/ 4142266 w 4142266"/>
                  <a:gd name="connsiteY4" fmla="*/ 3749361 h 4113385"/>
                  <a:gd name="connsiteX5" fmla="*/ 0 w 4142266"/>
                  <a:gd name="connsiteY5" fmla="*/ 4113385 h 4113385"/>
                  <a:gd name="connsiteX0" fmla="*/ 0 w 4113089"/>
                  <a:gd name="connsiteY0" fmla="*/ 4113385 h 4113385"/>
                  <a:gd name="connsiteX1" fmla="*/ 992426 w 4113089"/>
                  <a:gd name="connsiteY1" fmla="*/ 426571 h 4113385"/>
                  <a:gd name="connsiteX2" fmla="*/ 1885597 w 4113089"/>
                  <a:gd name="connsiteY2" fmla="*/ 0 h 4113385"/>
                  <a:gd name="connsiteX3" fmla="*/ 3954892 w 4113089"/>
                  <a:gd name="connsiteY3" fmla="*/ 1219405 h 4113385"/>
                  <a:gd name="connsiteX4" fmla="*/ 4113089 w 4113089"/>
                  <a:gd name="connsiteY4" fmla="*/ 3860148 h 4113385"/>
                  <a:gd name="connsiteX5" fmla="*/ 0 w 4113089"/>
                  <a:gd name="connsiteY5" fmla="*/ 4113385 h 4113385"/>
                  <a:gd name="connsiteX0" fmla="*/ 0 w 4113089"/>
                  <a:gd name="connsiteY0" fmla="*/ 4113385 h 4113385"/>
                  <a:gd name="connsiteX1" fmla="*/ 992426 w 4113089"/>
                  <a:gd name="connsiteY1" fmla="*/ 426571 h 4113385"/>
                  <a:gd name="connsiteX2" fmla="*/ 1885597 w 4113089"/>
                  <a:gd name="connsiteY2" fmla="*/ 0 h 4113385"/>
                  <a:gd name="connsiteX3" fmla="*/ 3918615 w 4113089"/>
                  <a:gd name="connsiteY3" fmla="*/ 1168758 h 4113385"/>
                  <a:gd name="connsiteX4" fmla="*/ 4113089 w 4113089"/>
                  <a:gd name="connsiteY4" fmla="*/ 3860148 h 4113385"/>
                  <a:gd name="connsiteX5" fmla="*/ 0 w 4113089"/>
                  <a:gd name="connsiteY5" fmla="*/ 4113385 h 4113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13089" h="4113385">
                    <a:moveTo>
                      <a:pt x="0" y="4113385"/>
                    </a:moveTo>
                    <a:lnTo>
                      <a:pt x="992426" y="426571"/>
                    </a:lnTo>
                    <a:lnTo>
                      <a:pt x="1885597" y="0"/>
                    </a:lnTo>
                    <a:lnTo>
                      <a:pt x="3918615" y="1168758"/>
                    </a:lnTo>
                    <a:lnTo>
                      <a:pt x="4113089" y="3860148"/>
                    </a:lnTo>
                    <a:lnTo>
                      <a:pt x="0" y="4113385"/>
                    </a:lnTo>
                    <a:close/>
                  </a:path>
                </a:pathLst>
              </a:custGeom>
              <a:solidFill>
                <a:srgbClr val="FFF8E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8" name="Freeform 7"/>
              <p:cNvSpPr/>
              <p:nvPr/>
            </p:nvSpPr>
            <p:spPr>
              <a:xfrm rot="14267055" flipH="1">
                <a:off x="5571894" y="-127586"/>
                <a:ext cx="2989656" cy="4252309"/>
              </a:xfrm>
              <a:custGeom>
                <a:avLst/>
                <a:gdLst>
                  <a:gd name="connsiteX0" fmla="*/ 0 w 1944270"/>
                  <a:gd name="connsiteY0" fmla="*/ 1872260 h 1872260"/>
                  <a:gd name="connsiteX1" fmla="*/ 468065 w 1944270"/>
                  <a:gd name="connsiteY1" fmla="*/ 0 h 1872260"/>
                  <a:gd name="connsiteX2" fmla="*/ 1476205 w 1944270"/>
                  <a:gd name="connsiteY2" fmla="*/ 0 h 1872260"/>
                  <a:gd name="connsiteX3" fmla="*/ 1944270 w 1944270"/>
                  <a:gd name="connsiteY3" fmla="*/ 1872260 h 1872260"/>
                  <a:gd name="connsiteX4" fmla="*/ 0 w 1944270"/>
                  <a:gd name="connsiteY4" fmla="*/ 1872260 h 1872260"/>
                  <a:gd name="connsiteX0" fmla="*/ 0 w 1944270"/>
                  <a:gd name="connsiteY0" fmla="*/ 2011567 h 2011567"/>
                  <a:gd name="connsiteX1" fmla="*/ 468065 w 1944270"/>
                  <a:gd name="connsiteY1" fmla="*/ 139307 h 2011567"/>
                  <a:gd name="connsiteX2" fmla="*/ 1220538 w 1944270"/>
                  <a:gd name="connsiteY2" fmla="*/ 0 h 2011567"/>
                  <a:gd name="connsiteX3" fmla="*/ 1944270 w 1944270"/>
                  <a:gd name="connsiteY3" fmla="*/ 2011567 h 2011567"/>
                  <a:gd name="connsiteX4" fmla="*/ 0 w 1944270"/>
                  <a:gd name="connsiteY4" fmla="*/ 2011567 h 2011567"/>
                  <a:gd name="connsiteX0" fmla="*/ 0 w 1944270"/>
                  <a:gd name="connsiteY0" fmla="*/ 2011567 h 2011567"/>
                  <a:gd name="connsiteX1" fmla="*/ 46173 w 1944270"/>
                  <a:gd name="connsiteY1" fmla="*/ 183049 h 2011567"/>
                  <a:gd name="connsiteX2" fmla="*/ 1220538 w 1944270"/>
                  <a:gd name="connsiteY2" fmla="*/ 0 h 2011567"/>
                  <a:gd name="connsiteX3" fmla="*/ 1944270 w 1944270"/>
                  <a:gd name="connsiteY3" fmla="*/ 2011567 h 2011567"/>
                  <a:gd name="connsiteX4" fmla="*/ 0 w 1944270"/>
                  <a:gd name="connsiteY4" fmla="*/ 2011567 h 2011567"/>
                  <a:gd name="connsiteX0" fmla="*/ 0 w 2629548"/>
                  <a:gd name="connsiteY0" fmla="*/ 404782 h 2011567"/>
                  <a:gd name="connsiteX1" fmla="*/ 731451 w 2629548"/>
                  <a:gd name="connsiteY1" fmla="*/ 183049 h 2011567"/>
                  <a:gd name="connsiteX2" fmla="*/ 1905816 w 2629548"/>
                  <a:gd name="connsiteY2" fmla="*/ 0 h 2011567"/>
                  <a:gd name="connsiteX3" fmla="*/ 2629548 w 2629548"/>
                  <a:gd name="connsiteY3" fmla="*/ 2011567 h 2011567"/>
                  <a:gd name="connsiteX4" fmla="*/ 0 w 2629548"/>
                  <a:gd name="connsiteY4" fmla="*/ 404782 h 2011567"/>
                  <a:gd name="connsiteX0" fmla="*/ 0 w 2629548"/>
                  <a:gd name="connsiteY0" fmla="*/ 404782 h 2011567"/>
                  <a:gd name="connsiteX1" fmla="*/ 767039 w 2629548"/>
                  <a:gd name="connsiteY1" fmla="*/ 76525 h 2011567"/>
                  <a:gd name="connsiteX2" fmla="*/ 1905816 w 2629548"/>
                  <a:gd name="connsiteY2" fmla="*/ 0 h 2011567"/>
                  <a:gd name="connsiteX3" fmla="*/ 2629548 w 2629548"/>
                  <a:gd name="connsiteY3" fmla="*/ 2011567 h 2011567"/>
                  <a:gd name="connsiteX4" fmla="*/ 0 w 2629548"/>
                  <a:gd name="connsiteY4" fmla="*/ 404782 h 2011567"/>
                  <a:gd name="connsiteX0" fmla="*/ 0 w 2629548"/>
                  <a:gd name="connsiteY0" fmla="*/ 404782 h 2011567"/>
                  <a:gd name="connsiteX1" fmla="*/ 767039 w 2629548"/>
                  <a:gd name="connsiteY1" fmla="*/ 76525 h 2011567"/>
                  <a:gd name="connsiteX2" fmla="*/ 1905816 w 2629548"/>
                  <a:gd name="connsiteY2" fmla="*/ 0 h 2011567"/>
                  <a:gd name="connsiteX3" fmla="*/ 2629548 w 2629548"/>
                  <a:gd name="connsiteY3" fmla="*/ 2011567 h 2011567"/>
                  <a:gd name="connsiteX4" fmla="*/ 2319505 w 2629548"/>
                  <a:gd name="connsiteY4" fmla="*/ 1814801 h 2011567"/>
                  <a:gd name="connsiteX5" fmla="*/ 0 w 2629548"/>
                  <a:gd name="connsiteY5" fmla="*/ 404782 h 2011567"/>
                  <a:gd name="connsiteX0" fmla="*/ 0 w 2629548"/>
                  <a:gd name="connsiteY0" fmla="*/ 404782 h 2360412"/>
                  <a:gd name="connsiteX1" fmla="*/ 767039 w 2629548"/>
                  <a:gd name="connsiteY1" fmla="*/ 76525 h 2360412"/>
                  <a:gd name="connsiteX2" fmla="*/ 1905816 w 2629548"/>
                  <a:gd name="connsiteY2" fmla="*/ 0 h 2360412"/>
                  <a:gd name="connsiteX3" fmla="*/ 2629548 w 2629548"/>
                  <a:gd name="connsiteY3" fmla="*/ 2011567 h 2360412"/>
                  <a:gd name="connsiteX4" fmla="*/ 1814399 w 2629548"/>
                  <a:gd name="connsiteY4" fmla="*/ 2360412 h 2360412"/>
                  <a:gd name="connsiteX5" fmla="*/ 0 w 2629548"/>
                  <a:gd name="connsiteY5" fmla="*/ 404782 h 2360412"/>
                  <a:gd name="connsiteX0" fmla="*/ 0 w 2667952"/>
                  <a:gd name="connsiteY0" fmla="*/ 405932 h 2360412"/>
                  <a:gd name="connsiteX1" fmla="*/ 805443 w 2667952"/>
                  <a:gd name="connsiteY1" fmla="*/ 76525 h 2360412"/>
                  <a:gd name="connsiteX2" fmla="*/ 1944220 w 2667952"/>
                  <a:gd name="connsiteY2" fmla="*/ 0 h 2360412"/>
                  <a:gd name="connsiteX3" fmla="*/ 2667952 w 2667952"/>
                  <a:gd name="connsiteY3" fmla="*/ 2011567 h 2360412"/>
                  <a:gd name="connsiteX4" fmla="*/ 1852803 w 2667952"/>
                  <a:gd name="connsiteY4" fmla="*/ 2360412 h 2360412"/>
                  <a:gd name="connsiteX5" fmla="*/ 0 w 2667952"/>
                  <a:gd name="connsiteY5" fmla="*/ 405932 h 2360412"/>
                  <a:gd name="connsiteX0" fmla="*/ 0 w 2667952"/>
                  <a:gd name="connsiteY0" fmla="*/ 405932 h 2407139"/>
                  <a:gd name="connsiteX1" fmla="*/ 805443 w 2667952"/>
                  <a:gd name="connsiteY1" fmla="*/ 76525 h 2407139"/>
                  <a:gd name="connsiteX2" fmla="*/ 1944220 w 2667952"/>
                  <a:gd name="connsiteY2" fmla="*/ 0 h 2407139"/>
                  <a:gd name="connsiteX3" fmla="*/ 2667952 w 2667952"/>
                  <a:gd name="connsiteY3" fmla="*/ 2011567 h 2407139"/>
                  <a:gd name="connsiteX4" fmla="*/ 1972455 w 2667952"/>
                  <a:gd name="connsiteY4" fmla="*/ 2407139 h 2407139"/>
                  <a:gd name="connsiteX5" fmla="*/ 0 w 2667952"/>
                  <a:gd name="connsiteY5" fmla="*/ 405932 h 2407139"/>
                  <a:gd name="connsiteX0" fmla="*/ 0 w 2741312"/>
                  <a:gd name="connsiteY0" fmla="*/ 405932 h 2407139"/>
                  <a:gd name="connsiteX1" fmla="*/ 805443 w 2741312"/>
                  <a:gd name="connsiteY1" fmla="*/ 76525 h 2407139"/>
                  <a:gd name="connsiteX2" fmla="*/ 1944220 w 2741312"/>
                  <a:gd name="connsiteY2" fmla="*/ 0 h 2407139"/>
                  <a:gd name="connsiteX3" fmla="*/ 2741312 w 2741312"/>
                  <a:gd name="connsiteY3" fmla="*/ 2097416 h 2407139"/>
                  <a:gd name="connsiteX4" fmla="*/ 1972455 w 2741312"/>
                  <a:gd name="connsiteY4" fmla="*/ 2407139 h 2407139"/>
                  <a:gd name="connsiteX5" fmla="*/ 0 w 2741312"/>
                  <a:gd name="connsiteY5" fmla="*/ 405932 h 2407139"/>
                  <a:gd name="connsiteX0" fmla="*/ 0 w 2741312"/>
                  <a:gd name="connsiteY0" fmla="*/ 363812 h 2365019"/>
                  <a:gd name="connsiteX1" fmla="*/ 805443 w 2741312"/>
                  <a:gd name="connsiteY1" fmla="*/ 34405 h 2365019"/>
                  <a:gd name="connsiteX2" fmla="*/ 1872325 w 2741312"/>
                  <a:gd name="connsiteY2" fmla="*/ 0 h 2365019"/>
                  <a:gd name="connsiteX3" fmla="*/ 2741312 w 2741312"/>
                  <a:gd name="connsiteY3" fmla="*/ 2055296 h 2365019"/>
                  <a:gd name="connsiteX4" fmla="*/ 1972455 w 2741312"/>
                  <a:gd name="connsiteY4" fmla="*/ 2365019 h 2365019"/>
                  <a:gd name="connsiteX5" fmla="*/ 0 w 2741312"/>
                  <a:gd name="connsiteY5" fmla="*/ 363812 h 2365019"/>
                  <a:gd name="connsiteX0" fmla="*/ 0 w 2664350"/>
                  <a:gd name="connsiteY0" fmla="*/ 363812 h 2365019"/>
                  <a:gd name="connsiteX1" fmla="*/ 805443 w 2664350"/>
                  <a:gd name="connsiteY1" fmla="*/ 34405 h 2365019"/>
                  <a:gd name="connsiteX2" fmla="*/ 1872325 w 2664350"/>
                  <a:gd name="connsiteY2" fmla="*/ 0 h 2365019"/>
                  <a:gd name="connsiteX3" fmla="*/ 2664350 w 2664350"/>
                  <a:gd name="connsiteY3" fmla="*/ 2046585 h 2365019"/>
                  <a:gd name="connsiteX4" fmla="*/ 1972455 w 2664350"/>
                  <a:gd name="connsiteY4" fmla="*/ 2365019 h 2365019"/>
                  <a:gd name="connsiteX5" fmla="*/ 0 w 2664350"/>
                  <a:gd name="connsiteY5" fmla="*/ 363812 h 2365019"/>
                  <a:gd name="connsiteX0" fmla="*/ 0 w 2672713"/>
                  <a:gd name="connsiteY0" fmla="*/ 363812 h 2365019"/>
                  <a:gd name="connsiteX1" fmla="*/ 805443 w 2672713"/>
                  <a:gd name="connsiteY1" fmla="*/ 34405 h 2365019"/>
                  <a:gd name="connsiteX2" fmla="*/ 1872325 w 2672713"/>
                  <a:gd name="connsiteY2" fmla="*/ 0 h 2365019"/>
                  <a:gd name="connsiteX3" fmla="*/ 2672713 w 2672713"/>
                  <a:gd name="connsiteY3" fmla="*/ 2079148 h 2365019"/>
                  <a:gd name="connsiteX4" fmla="*/ 1972455 w 2672713"/>
                  <a:gd name="connsiteY4" fmla="*/ 2365019 h 2365019"/>
                  <a:gd name="connsiteX5" fmla="*/ 0 w 2672713"/>
                  <a:gd name="connsiteY5" fmla="*/ 363812 h 2365019"/>
                  <a:gd name="connsiteX0" fmla="*/ 0 w 2696812"/>
                  <a:gd name="connsiteY0" fmla="*/ 363812 h 2365019"/>
                  <a:gd name="connsiteX1" fmla="*/ 805443 w 2696812"/>
                  <a:gd name="connsiteY1" fmla="*/ 34405 h 2365019"/>
                  <a:gd name="connsiteX2" fmla="*/ 1872325 w 2696812"/>
                  <a:gd name="connsiteY2" fmla="*/ 0 h 2365019"/>
                  <a:gd name="connsiteX3" fmla="*/ 2696812 w 2696812"/>
                  <a:gd name="connsiteY3" fmla="*/ 2063226 h 2365019"/>
                  <a:gd name="connsiteX4" fmla="*/ 1972455 w 2696812"/>
                  <a:gd name="connsiteY4" fmla="*/ 2365019 h 2365019"/>
                  <a:gd name="connsiteX5" fmla="*/ 0 w 2696812"/>
                  <a:gd name="connsiteY5" fmla="*/ 363812 h 2365019"/>
                  <a:gd name="connsiteX0" fmla="*/ 0 w 2685143"/>
                  <a:gd name="connsiteY0" fmla="*/ 363812 h 2365019"/>
                  <a:gd name="connsiteX1" fmla="*/ 805443 w 2685143"/>
                  <a:gd name="connsiteY1" fmla="*/ 34405 h 2365019"/>
                  <a:gd name="connsiteX2" fmla="*/ 1872325 w 2685143"/>
                  <a:gd name="connsiteY2" fmla="*/ 0 h 2365019"/>
                  <a:gd name="connsiteX3" fmla="*/ 2685143 w 2685143"/>
                  <a:gd name="connsiteY3" fmla="*/ 2064523 h 2365019"/>
                  <a:gd name="connsiteX4" fmla="*/ 1972455 w 2685143"/>
                  <a:gd name="connsiteY4" fmla="*/ 2365019 h 2365019"/>
                  <a:gd name="connsiteX5" fmla="*/ 0 w 2685143"/>
                  <a:gd name="connsiteY5" fmla="*/ 363812 h 2365019"/>
                  <a:gd name="connsiteX0" fmla="*/ 0 w 2695124"/>
                  <a:gd name="connsiteY0" fmla="*/ 363812 h 2365019"/>
                  <a:gd name="connsiteX1" fmla="*/ 805443 w 2695124"/>
                  <a:gd name="connsiteY1" fmla="*/ 34405 h 2365019"/>
                  <a:gd name="connsiteX2" fmla="*/ 1872325 w 2695124"/>
                  <a:gd name="connsiteY2" fmla="*/ 0 h 2365019"/>
                  <a:gd name="connsiteX3" fmla="*/ 2695124 w 2695124"/>
                  <a:gd name="connsiteY3" fmla="*/ 2066176 h 2365019"/>
                  <a:gd name="connsiteX4" fmla="*/ 1972455 w 2695124"/>
                  <a:gd name="connsiteY4" fmla="*/ 2365019 h 2365019"/>
                  <a:gd name="connsiteX5" fmla="*/ 0 w 2695124"/>
                  <a:gd name="connsiteY5" fmla="*/ 363812 h 2365019"/>
                  <a:gd name="connsiteX0" fmla="*/ 0 w 2695124"/>
                  <a:gd name="connsiteY0" fmla="*/ 363812 h 2400088"/>
                  <a:gd name="connsiteX1" fmla="*/ 805443 w 2695124"/>
                  <a:gd name="connsiteY1" fmla="*/ 34405 h 2400088"/>
                  <a:gd name="connsiteX2" fmla="*/ 1872325 w 2695124"/>
                  <a:gd name="connsiteY2" fmla="*/ 0 h 2400088"/>
                  <a:gd name="connsiteX3" fmla="*/ 2695124 w 2695124"/>
                  <a:gd name="connsiteY3" fmla="*/ 2066176 h 2400088"/>
                  <a:gd name="connsiteX4" fmla="*/ 2050202 w 2695124"/>
                  <a:gd name="connsiteY4" fmla="*/ 2400088 h 2400088"/>
                  <a:gd name="connsiteX5" fmla="*/ 0 w 2695124"/>
                  <a:gd name="connsiteY5" fmla="*/ 363812 h 2400088"/>
                  <a:gd name="connsiteX0" fmla="*/ 0 w 2699540"/>
                  <a:gd name="connsiteY0" fmla="*/ 363812 h 2400088"/>
                  <a:gd name="connsiteX1" fmla="*/ 805443 w 2699540"/>
                  <a:gd name="connsiteY1" fmla="*/ 34405 h 2400088"/>
                  <a:gd name="connsiteX2" fmla="*/ 1872325 w 2699540"/>
                  <a:gd name="connsiteY2" fmla="*/ 0 h 2400088"/>
                  <a:gd name="connsiteX3" fmla="*/ 2699540 w 2699540"/>
                  <a:gd name="connsiteY3" fmla="*/ 2138512 h 2400088"/>
                  <a:gd name="connsiteX4" fmla="*/ 2050202 w 2699540"/>
                  <a:gd name="connsiteY4" fmla="*/ 2400088 h 2400088"/>
                  <a:gd name="connsiteX5" fmla="*/ 0 w 2699540"/>
                  <a:gd name="connsiteY5" fmla="*/ 363812 h 2400088"/>
                  <a:gd name="connsiteX0" fmla="*/ 0 w 2633145"/>
                  <a:gd name="connsiteY0" fmla="*/ 387363 h 2400088"/>
                  <a:gd name="connsiteX1" fmla="*/ 739048 w 2633145"/>
                  <a:gd name="connsiteY1" fmla="*/ 34405 h 2400088"/>
                  <a:gd name="connsiteX2" fmla="*/ 1805930 w 2633145"/>
                  <a:gd name="connsiteY2" fmla="*/ 0 h 2400088"/>
                  <a:gd name="connsiteX3" fmla="*/ 2633145 w 2633145"/>
                  <a:gd name="connsiteY3" fmla="*/ 2138512 h 2400088"/>
                  <a:gd name="connsiteX4" fmla="*/ 1983807 w 2633145"/>
                  <a:gd name="connsiteY4" fmla="*/ 2400088 h 2400088"/>
                  <a:gd name="connsiteX5" fmla="*/ 0 w 2633145"/>
                  <a:gd name="connsiteY5" fmla="*/ 387363 h 2400088"/>
                  <a:gd name="connsiteX0" fmla="*/ 0 w 2657056"/>
                  <a:gd name="connsiteY0" fmla="*/ 349049 h 2400088"/>
                  <a:gd name="connsiteX1" fmla="*/ 762959 w 2657056"/>
                  <a:gd name="connsiteY1" fmla="*/ 34405 h 2400088"/>
                  <a:gd name="connsiteX2" fmla="*/ 1829841 w 2657056"/>
                  <a:gd name="connsiteY2" fmla="*/ 0 h 2400088"/>
                  <a:gd name="connsiteX3" fmla="*/ 2657056 w 2657056"/>
                  <a:gd name="connsiteY3" fmla="*/ 2138512 h 2400088"/>
                  <a:gd name="connsiteX4" fmla="*/ 2007718 w 2657056"/>
                  <a:gd name="connsiteY4" fmla="*/ 2400088 h 2400088"/>
                  <a:gd name="connsiteX5" fmla="*/ 0 w 2657056"/>
                  <a:gd name="connsiteY5" fmla="*/ 349049 h 2400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57056" h="2400088">
                    <a:moveTo>
                      <a:pt x="0" y="349049"/>
                    </a:moveTo>
                    <a:lnTo>
                      <a:pt x="762959" y="34405"/>
                    </a:lnTo>
                    <a:lnTo>
                      <a:pt x="1829841" y="0"/>
                    </a:lnTo>
                    <a:lnTo>
                      <a:pt x="2657056" y="2138512"/>
                    </a:lnTo>
                    <a:lnTo>
                      <a:pt x="2007718" y="2400088"/>
                    </a:lnTo>
                    <a:lnTo>
                      <a:pt x="0" y="349049"/>
                    </a:lnTo>
                    <a:close/>
                  </a:path>
                </a:pathLst>
              </a:custGeom>
              <a:solidFill>
                <a:srgbClr val="FAEAF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9" name="Freeform 8"/>
              <p:cNvSpPr/>
              <p:nvPr/>
            </p:nvSpPr>
            <p:spPr>
              <a:xfrm rot="5628957">
                <a:off x="685092" y="2466284"/>
                <a:ext cx="3606604" cy="4028814"/>
              </a:xfrm>
              <a:custGeom>
                <a:avLst/>
                <a:gdLst>
                  <a:gd name="connsiteX0" fmla="*/ 0 w 2160300"/>
                  <a:gd name="connsiteY0" fmla="*/ 2315012 h 2315012"/>
                  <a:gd name="connsiteX1" fmla="*/ 540075 w 2160300"/>
                  <a:gd name="connsiteY1" fmla="*/ 0 h 2315012"/>
                  <a:gd name="connsiteX2" fmla="*/ 1620225 w 2160300"/>
                  <a:gd name="connsiteY2" fmla="*/ 0 h 2315012"/>
                  <a:gd name="connsiteX3" fmla="*/ 2160300 w 2160300"/>
                  <a:gd name="connsiteY3" fmla="*/ 2315012 h 2315012"/>
                  <a:gd name="connsiteX4" fmla="*/ 0 w 2160300"/>
                  <a:gd name="connsiteY4" fmla="*/ 2315012 h 2315012"/>
                  <a:gd name="connsiteX0" fmla="*/ 0 w 2299601"/>
                  <a:gd name="connsiteY0" fmla="*/ 2677096 h 2677096"/>
                  <a:gd name="connsiteX1" fmla="*/ 679376 w 2299601"/>
                  <a:gd name="connsiteY1" fmla="*/ 0 h 2677096"/>
                  <a:gd name="connsiteX2" fmla="*/ 1759526 w 2299601"/>
                  <a:gd name="connsiteY2" fmla="*/ 0 h 2677096"/>
                  <a:gd name="connsiteX3" fmla="*/ 2299601 w 2299601"/>
                  <a:gd name="connsiteY3" fmla="*/ 2315012 h 2677096"/>
                  <a:gd name="connsiteX4" fmla="*/ 0 w 2299601"/>
                  <a:gd name="connsiteY4" fmla="*/ 2677096 h 2677096"/>
                  <a:gd name="connsiteX0" fmla="*/ 0 w 3840279"/>
                  <a:gd name="connsiteY0" fmla="*/ 2677096 h 2677096"/>
                  <a:gd name="connsiteX1" fmla="*/ 679376 w 3840279"/>
                  <a:gd name="connsiteY1" fmla="*/ 0 h 2677096"/>
                  <a:gd name="connsiteX2" fmla="*/ 1759526 w 3840279"/>
                  <a:gd name="connsiteY2" fmla="*/ 0 h 2677096"/>
                  <a:gd name="connsiteX3" fmla="*/ 3840279 w 3840279"/>
                  <a:gd name="connsiteY3" fmla="*/ 2483000 h 2677096"/>
                  <a:gd name="connsiteX4" fmla="*/ 0 w 3840279"/>
                  <a:gd name="connsiteY4" fmla="*/ 2677096 h 2677096"/>
                  <a:gd name="connsiteX0" fmla="*/ 0 w 3836160"/>
                  <a:gd name="connsiteY0" fmla="*/ 2738870 h 2738870"/>
                  <a:gd name="connsiteX1" fmla="*/ 675257 w 3836160"/>
                  <a:gd name="connsiteY1" fmla="*/ 0 h 2738870"/>
                  <a:gd name="connsiteX2" fmla="*/ 1755407 w 3836160"/>
                  <a:gd name="connsiteY2" fmla="*/ 0 h 2738870"/>
                  <a:gd name="connsiteX3" fmla="*/ 3836160 w 3836160"/>
                  <a:gd name="connsiteY3" fmla="*/ 2483000 h 2738870"/>
                  <a:gd name="connsiteX4" fmla="*/ 0 w 3836160"/>
                  <a:gd name="connsiteY4" fmla="*/ 2738870 h 2738870"/>
                  <a:gd name="connsiteX0" fmla="*/ 0 w 3836160"/>
                  <a:gd name="connsiteY0" fmla="*/ 3601435 h 3601435"/>
                  <a:gd name="connsiteX1" fmla="*/ 675257 w 3836160"/>
                  <a:gd name="connsiteY1" fmla="*/ 862565 h 3601435"/>
                  <a:gd name="connsiteX2" fmla="*/ 1840573 w 3836160"/>
                  <a:gd name="connsiteY2" fmla="*/ 0 h 3601435"/>
                  <a:gd name="connsiteX3" fmla="*/ 3836160 w 3836160"/>
                  <a:gd name="connsiteY3" fmla="*/ 3345565 h 3601435"/>
                  <a:gd name="connsiteX4" fmla="*/ 0 w 3836160"/>
                  <a:gd name="connsiteY4" fmla="*/ 3601435 h 3601435"/>
                  <a:gd name="connsiteX0" fmla="*/ 0 w 3836160"/>
                  <a:gd name="connsiteY0" fmla="*/ 3601435 h 3601435"/>
                  <a:gd name="connsiteX1" fmla="*/ 675257 w 3836160"/>
                  <a:gd name="connsiteY1" fmla="*/ 862565 h 3601435"/>
                  <a:gd name="connsiteX2" fmla="*/ 1840573 w 3836160"/>
                  <a:gd name="connsiteY2" fmla="*/ 0 h 3601435"/>
                  <a:gd name="connsiteX3" fmla="*/ 1993999 w 3836160"/>
                  <a:gd name="connsiteY3" fmla="*/ 286947 h 3601435"/>
                  <a:gd name="connsiteX4" fmla="*/ 3836160 w 3836160"/>
                  <a:gd name="connsiteY4" fmla="*/ 3345565 h 3601435"/>
                  <a:gd name="connsiteX5" fmla="*/ 0 w 3836160"/>
                  <a:gd name="connsiteY5" fmla="*/ 3601435 h 3601435"/>
                  <a:gd name="connsiteX0" fmla="*/ 0 w 3836160"/>
                  <a:gd name="connsiteY0" fmla="*/ 3601435 h 3601435"/>
                  <a:gd name="connsiteX1" fmla="*/ 675257 w 3836160"/>
                  <a:gd name="connsiteY1" fmla="*/ 862565 h 3601435"/>
                  <a:gd name="connsiteX2" fmla="*/ 1840573 w 3836160"/>
                  <a:gd name="connsiteY2" fmla="*/ 0 h 3601435"/>
                  <a:gd name="connsiteX3" fmla="*/ 2379766 w 3836160"/>
                  <a:gd name="connsiteY3" fmla="*/ 190358 h 3601435"/>
                  <a:gd name="connsiteX4" fmla="*/ 3836160 w 3836160"/>
                  <a:gd name="connsiteY4" fmla="*/ 3345565 h 3601435"/>
                  <a:gd name="connsiteX5" fmla="*/ 0 w 3836160"/>
                  <a:gd name="connsiteY5" fmla="*/ 3601435 h 3601435"/>
                  <a:gd name="connsiteX0" fmla="*/ 0 w 3836160"/>
                  <a:gd name="connsiteY0" fmla="*/ 3709222 h 3709222"/>
                  <a:gd name="connsiteX1" fmla="*/ 675257 w 3836160"/>
                  <a:gd name="connsiteY1" fmla="*/ 970352 h 3709222"/>
                  <a:gd name="connsiteX2" fmla="*/ 1616010 w 3836160"/>
                  <a:gd name="connsiteY2" fmla="*/ 0 h 3709222"/>
                  <a:gd name="connsiteX3" fmla="*/ 2379766 w 3836160"/>
                  <a:gd name="connsiteY3" fmla="*/ 298145 h 3709222"/>
                  <a:gd name="connsiteX4" fmla="*/ 3836160 w 3836160"/>
                  <a:gd name="connsiteY4" fmla="*/ 3453352 h 3709222"/>
                  <a:gd name="connsiteX5" fmla="*/ 0 w 3836160"/>
                  <a:gd name="connsiteY5" fmla="*/ 3709222 h 3709222"/>
                  <a:gd name="connsiteX0" fmla="*/ 0 w 3836160"/>
                  <a:gd name="connsiteY0" fmla="*/ 3709222 h 3709222"/>
                  <a:gd name="connsiteX1" fmla="*/ 509765 w 3836160"/>
                  <a:gd name="connsiteY1" fmla="*/ 1094769 h 3709222"/>
                  <a:gd name="connsiteX2" fmla="*/ 1616010 w 3836160"/>
                  <a:gd name="connsiteY2" fmla="*/ 0 h 3709222"/>
                  <a:gd name="connsiteX3" fmla="*/ 2379766 w 3836160"/>
                  <a:gd name="connsiteY3" fmla="*/ 298145 h 3709222"/>
                  <a:gd name="connsiteX4" fmla="*/ 3836160 w 3836160"/>
                  <a:gd name="connsiteY4" fmla="*/ 3453352 h 3709222"/>
                  <a:gd name="connsiteX5" fmla="*/ 0 w 3836160"/>
                  <a:gd name="connsiteY5" fmla="*/ 3709222 h 3709222"/>
                  <a:gd name="connsiteX0" fmla="*/ 0 w 3869710"/>
                  <a:gd name="connsiteY0" fmla="*/ 3649410 h 3649410"/>
                  <a:gd name="connsiteX1" fmla="*/ 543315 w 3869710"/>
                  <a:gd name="connsiteY1" fmla="*/ 1094769 h 3649410"/>
                  <a:gd name="connsiteX2" fmla="*/ 1649560 w 3869710"/>
                  <a:gd name="connsiteY2" fmla="*/ 0 h 3649410"/>
                  <a:gd name="connsiteX3" fmla="*/ 2413316 w 3869710"/>
                  <a:gd name="connsiteY3" fmla="*/ 298145 h 3649410"/>
                  <a:gd name="connsiteX4" fmla="*/ 3869710 w 3869710"/>
                  <a:gd name="connsiteY4" fmla="*/ 3453352 h 3649410"/>
                  <a:gd name="connsiteX5" fmla="*/ 0 w 3869710"/>
                  <a:gd name="connsiteY5" fmla="*/ 3649410 h 3649410"/>
                  <a:gd name="connsiteX0" fmla="*/ 0 w 3865590"/>
                  <a:gd name="connsiteY0" fmla="*/ 3711185 h 3711185"/>
                  <a:gd name="connsiteX1" fmla="*/ 539195 w 3865590"/>
                  <a:gd name="connsiteY1" fmla="*/ 1094769 h 3711185"/>
                  <a:gd name="connsiteX2" fmla="*/ 1645440 w 3865590"/>
                  <a:gd name="connsiteY2" fmla="*/ 0 h 3711185"/>
                  <a:gd name="connsiteX3" fmla="*/ 2409196 w 3865590"/>
                  <a:gd name="connsiteY3" fmla="*/ 298145 h 3711185"/>
                  <a:gd name="connsiteX4" fmla="*/ 3865590 w 3865590"/>
                  <a:gd name="connsiteY4" fmla="*/ 3453352 h 3711185"/>
                  <a:gd name="connsiteX5" fmla="*/ 0 w 3865590"/>
                  <a:gd name="connsiteY5" fmla="*/ 3711185 h 3711185"/>
                  <a:gd name="connsiteX0" fmla="*/ 0 w 3698452"/>
                  <a:gd name="connsiteY0" fmla="*/ 3711185 h 3711185"/>
                  <a:gd name="connsiteX1" fmla="*/ 539195 w 3698452"/>
                  <a:gd name="connsiteY1" fmla="*/ 1094769 h 3711185"/>
                  <a:gd name="connsiteX2" fmla="*/ 1645440 w 3698452"/>
                  <a:gd name="connsiteY2" fmla="*/ 0 h 3711185"/>
                  <a:gd name="connsiteX3" fmla="*/ 2409196 w 3698452"/>
                  <a:gd name="connsiteY3" fmla="*/ 298145 h 3711185"/>
                  <a:gd name="connsiteX4" fmla="*/ 3698452 w 3698452"/>
                  <a:gd name="connsiteY4" fmla="*/ 1390703 h 3711185"/>
                  <a:gd name="connsiteX5" fmla="*/ 0 w 3698452"/>
                  <a:gd name="connsiteY5" fmla="*/ 3711185 h 3711185"/>
                  <a:gd name="connsiteX0" fmla="*/ 0 w 3698452"/>
                  <a:gd name="connsiteY0" fmla="*/ 3774611 h 3774611"/>
                  <a:gd name="connsiteX1" fmla="*/ 539195 w 3698452"/>
                  <a:gd name="connsiteY1" fmla="*/ 1158195 h 3774611"/>
                  <a:gd name="connsiteX2" fmla="*/ 1740338 w 3698452"/>
                  <a:gd name="connsiteY2" fmla="*/ 0 h 3774611"/>
                  <a:gd name="connsiteX3" fmla="*/ 2409196 w 3698452"/>
                  <a:gd name="connsiteY3" fmla="*/ 361571 h 3774611"/>
                  <a:gd name="connsiteX4" fmla="*/ 3698452 w 3698452"/>
                  <a:gd name="connsiteY4" fmla="*/ 1454129 h 3774611"/>
                  <a:gd name="connsiteX5" fmla="*/ 0 w 3698452"/>
                  <a:gd name="connsiteY5" fmla="*/ 3774611 h 3774611"/>
                  <a:gd name="connsiteX0" fmla="*/ 0 w 3698452"/>
                  <a:gd name="connsiteY0" fmla="*/ 3774611 h 3774611"/>
                  <a:gd name="connsiteX1" fmla="*/ 539195 w 3698452"/>
                  <a:gd name="connsiteY1" fmla="*/ 1158195 h 3774611"/>
                  <a:gd name="connsiteX2" fmla="*/ 1740338 w 3698452"/>
                  <a:gd name="connsiteY2" fmla="*/ 0 h 3774611"/>
                  <a:gd name="connsiteX3" fmla="*/ 2468195 w 3698452"/>
                  <a:gd name="connsiteY3" fmla="*/ 486037 h 3774611"/>
                  <a:gd name="connsiteX4" fmla="*/ 3698452 w 3698452"/>
                  <a:gd name="connsiteY4" fmla="*/ 1454129 h 3774611"/>
                  <a:gd name="connsiteX5" fmla="*/ 0 w 3698452"/>
                  <a:gd name="connsiteY5" fmla="*/ 3774611 h 3774611"/>
                  <a:gd name="connsiteX0" fmla="*/ 0 w 3698452"/>
                  <a:gd name="connsiteY0" fmla="*/ 3774611 h 3774611"/>
                  <a:gd name="connsiteX1" fmla="*/ 539195 w 3698452"/>
                  <a:gd name="connsiteY1" fmla="*/ 1158195 h 3774611"/>
                  <a:gd name="connsiteX2" fmla="*/ 1740338 w 3698452"/>
                  <a:gd name="connsiteY2" fmla="*/ 0 h 3774611"/>
                  <a:gd name="connsiteX3" fmla="*/ 2468195 w 3698452"/>
                  <a:gd name="connsiteY3" fmla="*/ 486037 h 3774611"/>
                  <a:gd name="connsiteX4" fmla="*/ 3698452 w 3698452"/>
                  <a:gd name="connsiteY4" fmla="*/ 1454129 h 3774611"/>
                  <a:gd name="connsiteX5" fmla="*/ 2013687 w 3698452"/>
                  <a:gd name="connsiteY5" fmla="*/ 2528172 h 3774611"/>
                  <a:gd name="connsiteX6" fmla="*/ 0 w 3698452"/>
                  <a:gd name="connsiteY6" fmla="*/ 3774611 h 3774611"/>
                  <a:gd name="connsiteX0" fmla="*/ 0 w 3891419"/>
                  <a:gd name="connsiteY0" fmla="*/ 3774611 h 3774611"/>
                  <a:gd name="connsiteX1" fmla="*/ 539195 w 3891419"/>
                  <a:gd name="connsiteY1" fmla="*/ 1158195 h 3774611"/>
                  <a:gd name="connsiteX2" fmla="*/ 1740338 w 3891419"/>
                  <a:gd name="connsiteY2" fmla="*/ 0 h 3774611"/>
                  <a:gd name="connsiteX3" fmla="*/ 2468195 w 3891419"/>
                  <a:gd name="connsiteY3" fmla="*/ 486037 h 3774611"/>
                  <a:gd name="connsiteX4" fmla="*/ 3698452 w 3891419"/>
                  <a:gd name="connsiteY4" fmla="*/ 1454129 h 3774611"/>
                  <a:gd name="connsiteX5" fmla="*/ 3891419 w 3891419"/>
                  <a:gd name="connsiteY5" fmla="*/ 3515056 h 3774611"/>
                  <a:gd name="connsiteX6" fmla="*/ 0 w 3891419"/>
                  <a:gd name="connsiteY6" fmla="*/ 3774611 h 3774611"/>
                  <a:gd name="connsiteX0" fmla="*/ 0 w 3891419"/>
                  <a:gd name="connsiteY0" fmla="*/ 3774611 h 3774611"/>
                  <a:gd name="connsiteX1" fmla="*/ 751881 w 3891419"/>
                  <a:gd name="connsiteY1" fmla="*/ 106735 h 3774611"/>
                  <a:gd name="connsiteX2" fmla="*/ 1740338 w 3891419"/>
                  <a:gd name="connsiteY2" fmla="*/ 0 h 3774611"/>
                  <a:gd name="connsiteX3" fmla="*/ 2468195 w 3891419"/>
                  <a:gd name="connsiteY3" fmla="*/ 486037 h 3774611"/>
                  <a:gd name="connsiteX4" fmla="*/ 3698452 w 3891419"/>
                  <a:gd name="connsiteY4" fmla="*/ 1454129 h 3774611"/>
                  <a:gd name="connsiteX5" fmla="*/ 3891419 w 3891419"/>
                  <a:gd name="connsiteY5" fmla="*/ 3515056 h 3774611"/>
                  <a:gd name="connsiteX6" fmla="*/ 0 w 3891419"/>
                  <a:gd name="connsiteY6" fmla="*/ 3774611 h 3774611"/>
                  <a:gd name="connsiteX0" fmla="*/ 0 w 3891419"/>
                  <a:gd name="connsiteY0" fmla="*/ 3965310 h 3965310"/>
                  <a:gd name="connsiteX1" fmla="*/ 751881 w 3891419"/>
                  <a:gd name="connsiteY1" fmla="*/ 297434 h 3965310"/>
                  <a:gd name="connsiteX2" fmla="*/ 1507633 w 3891419"/>
                  <a:gd name="connsiteY2" fmla="*/ 0 h 3965310"/>
                  <a:gd name="connsiteX3" fmla="*/ 2468195 w 3891419"/>
                  <a:gd name="connsiteY3" fmla="*/ 676736 h 3965310"/>
                  <a:gd name="connsiteX4" fmla="*/ 3698452 w 3891419"/>
                  <a:gd name="connsiteY4" fmla="*/ 1644828 h 3965310"/>
                  <a:gd name="connsiteX5" fmla="*/ 3891419 w 3891419"/>
                  <a:gd name="connsiteY5" fmla="*/ 3705755 h 3965310"/>
                  <a:gd name="connsiteX6" fmla="*/ 0 w 3891419"/>
                  <a:gd name="connsiteY6" fmla="*/ 3965310 h 3965310"/>
                  <a:gd name="connsiteX0" fmla="*/ 0 w 3891419"/>
                  <a:gd name="connsiteY0" fmla="*/ 3965310 h 3965310"/>
                  <a:gd name="connsiteX1" fmla="*/ 751881 w 3891419"/>
                  <a:gd name="connsiteY1" fmla="*/ 297434 h 3965310"/>
                  <a:gd name="connsiteX2" fmla="*/ 1507633 w 3891419"/>
                  <a:gd name="connsiteY2" fmla="*/ 0 h 3965310"/>
                  <a:gd name="connsiteX3" fmla="*/ 3698452 w 3891419"/>
                  <a:gd name="connsiteY3" fmla="*/ 1644828 h 3965310"/>
                  <a:gd name="connsiteX4" fmla="*/ 3891419 w 3891419"/>
                  <a:gd name="connsiteY4" fmla="*/ 3705755 h 3965310"/>
                  <a:gd name="connsiteX5" fmla="*/ 0 w 3891419"/>
                  <a:gd name="connsiteY5" fmla="*/ 3965310 h 3965310"/>
                  <a:gd name="connsiteX0" fmla="*/ 0 w 3891419"/>
                  <a:gd name="connsiteY0" fmla="*/ 3965310 h 3965310"/>
                  <a:gd name="connsiteX1" fmla="*/ 751881 w 3891419"/>
                  <a:gd name="connsiteY1" fmla="*/ 297434 h 3965310"/>
                  <a:gd name="connsiteX2" fmla="*/ 1507633 w 3891419"/>
                  <a:gd name="connsiteY2" fmla="*/ 0 h 3965310"/>
                  <a:gd name="connsiteX3" fmla="*/ 3652929 w 3891419"/>
                  <a:gd name="connsiteY3" fmla="*/ 1212994 h 3965310"/>
                  <a:gd name="connsiteX4" fmla="*/ 3891419 w 3891419"/>
                  <a:gd name="connsiteY4" fmla="*/ 3705755 h 3965310"/>
                  <a:gd name="connsiteX5" fmla="*/ 0 w 3891419"/>
                  <a:gd name="connsiteY5" fmla="*/ 3965310 h 3965310"/>
                  <a:gd name="connsiteX0" fmla="*/ 0 w 3891419"/>
                  <a:gd name="connsiteY0" fmla="*/ 3965310 h 3965310"/>
                  <a:gd name="connsiteX1" fmla="*/ 751881 w 3891419"/>
                  <a:gd name="connsiteY1" fmla="*/ 297434 h 3965310"/>
                  <a:gd name="connsiteX2" fmla="*/ 1507633 w 3891419"/>
                  <a:gd name="connsiteY2" fmla="*/ 0 h 3965310"/>
                  <a:gd name="connsiteX3" fmla="*/ 3645631 w 3891419"/>
                  <a:gd name="connsiteY3" fmla="*/ 1217692 h 3965310"/>
                  <a:gd name="connsiteX4" fmla="*/ 3891419 w 3891419"/>
                  <a:gd name="connsiteY4" fmla="*/ 3705755 h 3965310"/>
                  <a:gd name="connsiteX5" fmla="*/ 0 w 3891419"/>
                  <a:gd name="connsiteY5" fmla="*/ 3965310 h 3965310"/>
                  <a:gd name="connsiteX0" fmla="*/ 0 w 3836974"/>
                  <a:gd name="connsiteY0" fmla="*/ 3965310 h 3965310"/>
                  <a:gd name="connsiteX1" fmla="*/ 751881 w 3836974"/>
                  <a:gd name="connsiteY1" fmla="*/ 297434 h 3965310"/>
                  <a:gd name="connsiteX2" fmla="*/ 1507633 w 3836974"/>
                  <a:gd name="connsiteY2" fmla="*/ 0 h 3965310"/>
                  <a:gd name="connsiteX3" fmla="*/ 3645631 w 3836974"/>
                  <a:gd name="connsiteY3" fmla="*/ 1217692 h 3965310"/>
                  <a:gd name="connsiteX4" fmla="*/ 3836974 w 3836974"/>
                  <a:gd name="connsiteY4" fmla="*/ 3798695 h 3965310"/>
                  <a:gd name="connsiteX5" fmla="*/ 0 w 3836974"/>
                  <a:gd name="connsiteY5" fmla="*/ 3965310 h 3965310"/>
                  <a:gd name="connsiteX0" fmla="*/ 0 w 3822506"/>
                  <a:gd name="connsiteY0" fmla="*/ 3965310 h 3965310"/>
                  <a:gd name="connsiteX1" fmla="*/ 751881 w 3822506"/>
                  <a:gd name="connsiteY1" fmla="*/ 297434 h 3965310"/>
                  <a:gd name="connsiteX2" fmla="*/ 1507633 w 3822506"/>
                  <a:gd name="connsiteY2" fmla="*/ 0 h 3965310"/>
                  <a:gd name="connsiteX3" fmla="*/ 3645631 w 3822506"/>
                  <a:gd name="connsiteY3" fmla="*/ 1217692 h 3965310"/>
                  <a:gd name="connsiteX4" fmla="*/ 3822506 w 3822506"/>
                  <a:gd name="connsiteY4" fmla="*/ 3796649 h 3965310"/>
                  <a:gd name="connsiteX5" fmla="*/ 0 w 3822506"/>
                  <a:gd name="connsiteY5" fmla="*/ 3965310 h 3965310"/>
                  <a:gd name="connsiteX0" fmla="*/ 0 w 3840846"/>
                  <a:gd name="connsiteY0" fmla="*/ 4044277 h 4044277"/>
                  <a:gd name="connsiteX1" fmla="*/ 770221 w 3840846"/>
                  <a:gd name="connsiteY1" fmla="*/ 297434 h 4044277"/>
                  <a:gd name="connsiteX2" fmla="*/ 1525973 w 3840846"/>
                  <a:gd name="connsiteY2" fmla="*/ 0 h 4044277"/>
                  <a:gd name="connsiteX3" fmla="*/ 3663971 w 3840846"/>
                  <a:gd name="connsiteY3" fmla="*/ 1217692 h 4044277"/>
                  <a:gd name="connsiteX4" fmla="*/ 3840846 w 3840846"/>
                  <a:gd name="connsiteY4" fmla="*/ 3796649 h 4044277"/>
                  <a:gd name="connsiteX5" fmla="*/ 0 w 3840846"/>
                  <a:gd name="connsiteY5" fmla="*/ 4044277 h 4044277"/>
                  <a:gd name="connsiteX0" fmla="*/ 0 w 3981292"/>
                  <a:gd name="connsiteY0" fmla="*/ 4038238 h 4038238"/>
                  <a:gd name="connsiteX1" fmla="*/ 910667 w 3981292"/>
                  <a:gd name="connsiteY1" fmla="*/ 297434 h 4038238"/>
                  <a:gd name="connsiteX2" fmla="*/ 1666419 w 3981292"/>
                  <a:gd name="connsiteY2" fmla="*/ 0 h 4038238"/>
                  <a:gd name="connsiteX3" fmla="*/ 3804417 w 3981292"/>
                  <a:gd name="connsiteY3" fmla="*/ 1217692 h 4038238"/>
                  <a:gd name="connsiteX4" fmla="*/ 3981292 w 3981292"/>
                  <a:gd name="connsiteY4" fmla="*/ 3796649 h 4038238"/>
                  <a:gd name="connsiteX5" fmla="*/ 0 w 3981292"/>
                  <a:gd name="connsiteY5" fmla="*/ 4038238 h 4038238"/>
                  <a:gd name="connsiteX0" fmla="*/ 0 w 3981292"/>
                  <a:gd name="connsiteY0" fmla="*/ 4038238 h 4038238"/>
                  <a:gd name="connsiteX1" fmla="*/ 910667 w 3981292"/>
                  <a:gd name="connsiteY1" fmla="*/ 297434 h 4038238"/>
                  <a:gd name="connsiteX2" fmla="*/ 1666419 w 3981292"/>
                  <a:gd name="connsiteY2" fmla="*/ 0 h 4038238"/>
                  <a:gd name="connsiteX3" fmla="*/ 3786358 w 3981292"/>
                  <a:gd name="connsiteY3" fmla="*/ 1249608 h 4038238"/>
                  <a:gd name="connsiteX4" fmla="*/ 3981292 w 3981292"/>
                  <a:gd name="connsiteY4" fmla="*/ 3796649 h 4038238"/>
                  <a:gd name="connsiteX5" fmla="*/ 0 w 3981292"/>
                  <a:gd name="connsiteY5" fmla="*/ 4038238 h 4038238"/>
                  <a:gd name="connsiteX0" fmla="*/ 0 w 3981292"/>
                  <a:gd name="connsiteY0" fmla="*/ 4038238 h 4038238"/>
                  <a:gd name="connsiteX1" fmla="*/ 910667 w 3981292"/>
                  <a:gd name="connsiteY1" fmla="*/ 297434 h 4038238"/>
                  <a:gd name="connsiteX2" fmla="*/ 1666419 w 3981292"/>
                  <a:gd name="connsiteY2" fmla="*/ 0 h 4038238"/>
                  <a:gd name="connsiteX3" fmla="*/ 3830593 w 3981292"/>
                  <a:gd name="connsiteY3" fmla="*/ 1262881 h 4038238"/>
                  <a:gd name="connsiteX4" fmla="*/ 3981292 w 3981292"/>
                  <a:gd name="connsiteY4" fmla="*/ 3796649 h 4038238"/>
                  <a:gd name="connsiteX5" fmla="*/ 0 w 3981292"/>
                  <a:gd name="connsiteY5" fmla="*/ 4038238 h 4038238"/>
                  <a:gd name="connsiteX0" fmla="*/ 0 w 3980659"/>
                  <a:gd name="connsiteY0" fmla="*/ 4047011 h 4047011"/>
                  <a:gd name="connsiteX1" fmla="*/ 910034 w 3980659"/>
                  <a:gd name="connsiteY1" fmla="*/ 297434 h 4047011"/>
                  <a:gd name="connsiteX2" fmla="*/ 1665786 w 3980659"/>
                  <a:gd name="connsiteY2" fmla="*/ 0 h 4047011"/>
                  <a:gd name="connsiteX3" fmla="*/ 3829960 w 3980659"/>
                  <a:gd name="connsiteY3" fmla="*/ 1262881 h 4047011"/>
                  <a:gd name="connsiteX4" fmla="*/ 3980659 w 3980659"/>
                  <a:gd name="connsiteY4" fmla="*/ 3796649 h 4047011"/>
                  <a:gd name="connsiteX5" fmla="*/ 0 w 3980659"/>
                  <a:gd name="connsiteY5" fmla="*/ 4047011 h 4047011"/>
                  <a:gd name="connsiteX0" fmla="*/ 0 w 4056056"/>
                  <a:gd name="connsiteY0" fmla="*/ 4060465 h 4060465"/>
                  <a:gd name="connsiteX1" fmla="*/ 985431 w 4056056"/>
                  <a:gd name="connsiteY1" fmla="*/ 297434 h 4060465"/>
                  <a:gd name="connsiteX2" fmla="*/ 1741183 w 4056056"/>
                  <a:gd name="connsiteY2" fmla="*/ 0 h 4060465"/>
                  <a:gd name="connsiteX3" fmla="*/ 3905357 w 4056056"/>
                  <a:gd name="connsiteY3" fmla="*/ 1262881 h 4060465"/>
                  <a:gd name="connsiteX4" fmla="*/ 4056056 w 4056056"/>
                  <a:gd name="connsiteY4" fmla="*/ 3796649 h 4060465"/>
                  <a:gd name="connsiteX5" fmla="*/ 0 w 4056056"/>
                  <a:gd name="connsiteY5" fmla="*/ 4060465 h 4060465"/>
                  <a:gd name="connsiteX0" fmla="*/ 0 w 4071428"/>
                  <a:gd name="connsiteY0" fmla="*/ 4177578 h 4177578"/>
                  <a:gd name="connsiteX1" fmla="*/ 1000803 w 4071428"/>
                  <a:gd name="connsiteY1" fmla="*/ 297434 h 4177578"/>
                  <a:gd name="connsiteX2" fmla="*/ 1756555 w 4071428"/>
                  <a:gd name="connsiteY2" fmla="*/ 0 h 4177578"/>
                  <a:gd name="connsiteX3" fmla="*/ 3920729 w 4071428"/>
                  <a:gd name="connsiteY3" fmla="*/ 1262881 h 4177578"/>
                  <a:gd name="connsiteX4" fmla="*/ 4071428 w 4071428"/>
                  <a:gd name="connsiteY4" fmla="*/ 3796649 h 4177578"/>
                  <a:gd name="connsiteX5" fmla="*/ 0 w 4071428"/>
                  <a:gd name="connsiteY5" fmla="*/ 4177578 h 4177578"/>
                  <a:gd name="connsiteX0" fmla="*/ 0 w 4070714"/>
                  <a:gd name="connsiteY0" fmla="*/ 4165306 h 4165306"/>
                  <a:gd name="connsiteX1" fmla="*/ 1000089 w 4070714"/>
                  <a:gd name="connsiteY1" fmla="*/ 297434 h 4165306"/>
                  <a:gd name="connsiteX2" fmla="*/ 1755841 w 4070714"/>
                  <a:gd name="connsiteY2" fmla="*/ 0 h 4165306"/>
                  <a:gd name="connsiteX3" fmla="*/ 3920015 w 4070714"/>
                  <a:gd name="connsiteY3" fmla="*/ 1262881 h 4165306"/>
                  <a:gd name="connsiteX4" fmla="*/ 4070714 w 4070714"/>
                  <a:gd name="connsiteY4" fmla="*/ 3796649 h 4165306"/>
                  <a:gd name="connsiteX5" fmla="*/ 0 w 4070714"/>
                  <a:gd name="connsiteY5" fmla="*/ 4165306 h 4165306"/>
                  <a:gd name="connsiteX0" fmla="*/ 0 w 4066437"/>
                  <a:gd name="connsiteY0" fmla="*/ 4165306 h 4165306"/>
                  <a:gd name="connsiteX1" fmla="*/ 1000089 w 4066437"/>
                  <a:gd name="connsiteY1" fmla="*/ 297434 h 4165306"/>
                  <a:gd name="connsiteX2" fmla="*/ 1755841 w 4066437"/>
                  <a:gd name="connsiteY2" fmla="*/ 0 h 4165306"/>
                  <a:gd name="connsiteX3" fmla="*/ 3920015 w 4066437"/>
                  <a:gd name="connsiteY3" fmla="*/ 1262881 h 4165306"/>
                  <a:gd name="connsiteX4" fmla="*/ 4066437 w 4066437"/>
                  <a:gd name="connsiteY4" fmla="*/ 3906617 h 4165306"/>
                  <a:gd name="connsiteX5" fmla="*/ 0 w 4066437"/>
                  <a:gd name="connsiteY5" fmla="*/ 4165306 h 4165306"/>
                  <a:gd name="connsiteX0" fmla="*/ 0 w 4066437"/>
                  <a:gd name="connsiteY0" fmla="*/ 4165306 h 4165306"/>
                  <a:gd name="connsiteX1" fmla="*/ 1000089 w 4066437"/>
                  <a:gd name="connsiteY1" fmla="*/ 297434 h 4165306"/>
                  <a:gd name="connsiteX2" fmla="*/ 1755841 w 4066437"/>
                  <a:gd name="connsiteY2" fmla="*/ 0 h 4165306"/>
                  <a:gd name="connsiteX3" fmla="*/ 3871136 w 4066437"/>
                  <a:gd name="connsiteY3" fmla="*/ 1228079 h 4165306"/>
                  <a:gd name="connsiteX4" fmla="*/ 4066437 w 4066437"/>
                  <a:gd name="connsiteY4" fmla="*/ 3906617 h 4165306"/>
                  <a:gd name="connsiteX5" fmla="*/ 0 w 4066437"/>
                  <a:gd name="connsiteY5" fmla="*/ 4165306 h 4165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66437" h="4165306">
                    <a:moveTo>
                      <a:pt x="0" y="4165306"/>
                    </a:moveTo>
                    <a:lnTo>
                      <a:pt x="1000089" y="297434"/>
                    </a:lnTo>
                    <a:lnTo>
                      <a:pt x="1755841" y="0"/>
                    </a:lnTo>
                    <a:lnTo>
                      <a:pt x="3871136" y="1228079"/>
                    </a:lnTo>
                    <a:lnTo>
                      <a:pt x="4066437" y="3906617"/>
                    </a:lnTo>
                    <a:lnTo>
                      <a:pt x="0" y="4165306"/>
                    </a:lnTo>
                    <a:close/>
                  </a:path>
                </a:pathLst>
              </a:custGeom>
              <a:solidFill>
                <a:srgbClr val="F3FC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" name="Freeform 9"/>
              <p:cNvSpPr/>
              <p:nvPr/>
            </p:nvSpPr>
            <p:spPr>
              <a:xfrm rot="7332945">
                <a:off x="1420586" y="-206466"/>
                <a:ext cx="3005470" cy="4504455"/>
              </a:xfrm>
              <a:custGeom>
                <a:avLst/>
                <a:gdLst>
                  <a:gd name="connsiteX0" fmla="*/ 0 w 1944270"/>
                  <a:gd name="connsiteY0" fmla="*/ 1872260 h 1872260"/>
                  <a:gd name="connsiteX1" fmla="*/ 468065 w 1944270"/>
                  <a:gd name="connsiteY1" fmla="*/ 0 h 1872260"/>
                  <a:gd name="connsiteX2" fmla="*/ 1476205 w 1944270"/>
                  <a:gd name="connsiteY2" fmla="*/ 0 h 1872260"/>
                  <a:gd name="connsiteX3" fmla="*/ 1944270 w 1944270"/>
                  <a:gd name="connsiteY3" fmla="*/ 1872260 h 1872260"/>
                  <a:gd name="connsiteX4" fmla="*/ 0 w 1944270"/>
                  <a:gd name="connsiteY4" fmla="*/ 1872260 h 1872260"/>
                  <a:gd name="connsiteX0" fmla="*/ 0 w 1944270"/>
                  <a:gd name="connsiteY0" fmla="*/ 2011567 h 2011567"/>
                  <a:gd name="connsiteX1" fmla="*/ 468065 w 1944270"/>
                  <a:gd name="connsiteY1" fmla="*/ 139307 h 2011567"/>
                  <a:gd name="connsiteX2" fmla="*/ 1220538 w 1944270"/>
                  <a:gd name="connsiteY2" fmla="*/ 0 h 2011567"/>
                  <a:gd name="connsiteX3" fmla="*/ 1944270 w 1944270"/>
                  <a:gd name="connsiteY3" fmla="*/ 2011567 h 2011567"/>
                  <a:gd name="connsiteX4" fmla="*/ 0 w 1944270"/>
                  <a:gd name="connsiteY4" fmla="*/ 2011567 h 2011567"/>
                  <a:gd name="connsiteX0" fmla="*/ 0 w 1944270"/>
                  <a:gd name="connsiteY0" fmla="*/ 2011567 h 2011567"/>
                  <a:gd name="connsiteX1" fmla="*/ 46173 w 1944270"/>
                  <a:gd name="connsiteY1" fmla="*/ 183049 h 2011567"/>
                  <a:gd name="connsiteX2" fmla="*/ 1220538 w 1944270"/>
                  <a:gd name="connsiteY2" fmla="*/ 0 h 2011567"/>
                  <a:gd name="connsiteX3" fmla="*/ 1944270 w 1944270"/>
                  <a:gd name="connsiteY3" fmla="*/ 2011567 h 2011567"/>
                  <a:gd name="connsiteX4" fmla="*/ 0 w 1944270"/>
                  <a:gd name="connsiteY4" fmla="*/ 2011567 h 2011567"/>
                  <a:gd name="connsiteX0" fmla="*/ 0 w 2629548"/>
                  <a:gd name="connsiteY0" fmla="*/ 404782 h 2011567"/>
                  <a:gd name="connsiteX1" fmla="*/ 731451 w 2629548"/>
                  <a:gd name="connsiteY1" fmla="*/ 183049 h 2011567"/>
                  <a:gd name="connsiteX2" fmla="*/ 1905816 w 2629548"/>
                  <a:gd name="connsiteY2" fmla="*/ 0 h 2011567"/>
                  <a:gd name="connsiteX3" fmla="*/ 2629548 w 2629548"/>
                  <a:gd name="connsiteY3" fmla="*/ 2011567 h 2011567"/>
                  <a:gd name="connsiteX4" fmla="*/ 0 w 2629548"/>
                  <a:gd name="connsiteY4" fmla="*/ 404782 h 2011567"/>
                  <a:gd name="connsiteX0" fmla="*/ 0 w 2629548"/>
                  <a:gd name="connsiteY0" fmla="*/ 404782 h 2011567"/>
                  <a:gd name="connsiteX1" fmla="*/ 767039 w 2629548"/>
                  <a:gd name="connsiteY1" fmla="*/ 76525 h 2011567"/>
                  <a:gd name="connsiteX2" fmla="*/ 1905816 w 2629548"/>
                  <a:gd name="connsiteY2" fmla="*/ 0 h 2011567"/>
                  <a:gd name="connsiteX3" fmla="*/ 2629548 w 2629548"/>
                  <a:gd name="connsiteY3" fmla="*/ 2011567 h 2011567"/>
                  <a:gd name="connsiteX4" fmla="*/ 0 w 2629548"/>
                  <a:gd name="connsiteY4" fmla="*/ 404782 h 2011567"/>
                  <a:gd name="connsiteX0" fmla="*/ 0 w 2629548"/>
                  <a:gd name="connsiteY0" fmla="*/ 404782 h 2011567"/>
                  <a:gd name="connsiteX1" fmla="*/ 767039 w 2629548"/>
                  <a:gd name="connsiteY1" fmla="*/ 76525 h 2011567"/>
                  <a:gd name="connsiteX2" fmla="*/ 1905816 w 2629548"/>
                  <a:gd name="connsiteY2" fmla="*/ 0 h 2011567"/>
                  <a:gd name="connsiteX3" fmla="*/ 2629548 w 2629548"/>
                  <a:gd name="connsiteY3" fmla="*/ 2011567 h 2011567"/>
                  <a:gd name="connsiteX4" fmla="*/ 2319505 w 2629548"/>
                  <a:gd name="connsiteY4" fmla="*/ 1814801 h 2011567"/>
                  <a:gd name="connsiteX5" fmla="*/ 0 w 2629548"/>
                  <a:gd name="connsiteY5" fmla="*/ 404782 h 2011567"/>
                  <a:gd name="connsiteX0" fmla="*/ 0 w 2629548"/>
                  <a:gd name="connsiteY0" fmla="*/ 404782 h 2360412"/>
                  <a:gd name="connsiteX1" fmla="*/ 767039 w 2629548"/>
                  <a:gd name="connsiteY1" fmla="*/ 76525 h 2360412"/>
                  <a:gd name="connsiteX2" fmla="*/ 1905816 w 2629548"/>
                  <a:gd name="connsiteY2" fmla="*/ 0 h 2360412"/>
                  <a:gd name="connsiteX3" fmla="*/ 2629548 w 2629548"/>
                  <a:gd name="connsiteY3" fmla="*/ 2011567 h 2360412"/>
                  <a:gd name="connsiteX4" fmla="*/ 1814399 w 2629548"/>
                  <a:gd name="connsiteY4" fmla="*/ 2360412 h 2360412"/>
                  <a:gd name="connsiteX5" fmla="*/ 0 w 2629548"/>
                  <a:gd name="connsiteY5" fmla="*/ 404782 h 2360412"/>
                  <a:gd name="connsiteX0" fmla="*/ 0 w 2629548"/>
                  <a:gd name="connsiteY0" fmla="*/ 408416 h 2364046"/>
                  <a:gd name="connsiteX1" fmla="*/ 767039 w 2629548"/>
                  <a:gd name="connsiteY1" fmla="*/ 80159 h 2364046"/>
                  <a:gd name="connsiteX2" fmla="*/ 1812489 w 2629548"/>
                  <a:gd name="connsiteY2" fmla="*/ 0 h 2364046"/>
                  <a:gd name="connsiteX3" fmla="*/ 2629548 w 2629548"/>
                  <a:gd name="connsiteY3" fmla="*/ 2015201 h 2364046"/>
                  <a:gd name="connsiteX4" fmla="*/ 1814399 w 2629548"/>
                  <a:gd name="connsiteY4" fmla="*/ 2364046 h 2364046"/>
                  <a:gd name="connsiteX5" fmla="*/ 0 w 2629548"/>
                  <a:gd name="connsiteY5" fmla="*/ 408416 h 2364046"/>
                  <a:gd name="connsiteX0" fmla="*/ 0 w 2629548"/>
                  <a:gd name="connsiteY0" fmla="*/ 525814 h 2481444"/>
                  <a:gd name="connsiteX1" fmla="*/ 1225469 w 2629548"/>
                  <a:gd name="connsiteY1" fmla="*/ 0 h 2481444"/>
                  <a:gd name="connsiteX2" fmla="*/ 1812489 w 2629548"/>
                  <a:gd name="connsiteY2" fmla="*/ 117398 h 2481444"/>
                  <a:gd name="connsiteX3" fmla="*/ 2629548 w 2629548"/>
                  <a:gd name="connsiteY3" fmla="*/ 2132599 h 2481444"/>
                  <a:gd name="connsiteX4" fmla="*/ 1814399 w 2629548"/>
                  <a:gd name="connsiteY4" fmla="*/ 2481444 h 2481444"/>
                  <a:gd name="connsiteX5" fmla="*/ 0 w 2629548"/>
                  <a:gd name="connsiteY5" fmla="*/ 525814 h 2481444"/>
                  <a:gd name="connsiteX0" fmla="*/ 0 w 2671783"/>
                  <a:gd name="connsiteY0" fmla="*/ 500971 h 2481444"/>
                  <a:gd name="connsiteX1" fmla="*/ 1267704 w 2671783"/>
                  <a:gd name="connsiteY1" fmla="*/ 0 h 2481444"/>
                  <a:gd name="connsiteX2" fmla="*/ 1854724 w 2671783"/>
                  <a:gd name="connsiteY2" fmla="*/ 117398 h 2481444"/>
                  <a:gd name="connsiteX3" fmla="*/ 2671783 w 2671783"/>
                  <a:gd name="connsiteY3" fmla="*/ 2132599 h 2481444"/>
                  <a:gd name="connsiteX4" fmla="*/ 1856634 w 2671783"/>
                  <a:gd name="connsiteY4" fmla="*/ 2481444 h 2481444"/>
                  <a:gd name="connsiteX5" fmla="*/ 0 w 2671783"/>
                  <a:gd name="connsiteY5" fmla="*/ 500971 h 2481444"/>
                  <a:gd name="connsiteX0" fmla="*/ 0 w 2671783"/>
                  <a:gd name="connsiteY0" fmla="*/ 500971 h 2511383"/>
                  <a:gd name="connsiteX1" fmla="*/ 1267704 w 2671783"/>
                  <a:gd name="connsiteY1" fmla="*/ 0 h 2511383"/>
                  <a:gd name="connsiteX2" fmla="*/ 1854724 w 2671783"/>
                  <a:gd name="connsiteY2" fmla="*/ 117398 h 2511383"/>
                  <a:gd name="connsiteX3" fmla="*/ 2671783 w 2671783"/>
                  <a:gd name="connsiteY3" fmla="*/ 2132599 h 2511383"/>
                  <a:gd name="connsiteX4" fmla="*/ 1963053 w 2671783"/>
                  <a:gd name="connsiteY4" fmla="*/ 2511383 h 2511383"/>
                  <a:gd name="connsiteX5" fmla="*/ 0 w 2671783"/>
                  <a:gd name="connsiteY5" fmla="*/ 500971 h 2511383"/>
                  <a:gd name="connsiteX0" fmla="*/ 0 w 2738108"/>
                  <a:gd name="connsiteY0" fmla="*/ 500971 h 2511383"/>
                  <a:gd name="connsiteX1" fmla="*/ 1267704 w 2738108"/>
                  <a:gd name="connsiteY1" fmla="*/ 0 h 2511383"/>
                  <a:gd name="connsiteX2" fmla="*/ 1854724 w 2738108"/>
                  <a:gd name="connsiteY2" fmla="*/ 117398 h 2511383"/>
                  <a:gd name="connsiteX3" fmla="*/ 2738108 w 2738108"/>
                  <a:gd name="connsiteY3" fmla="*/ 2193818 h 2511383"/>
                  <a:gd name="connsiteX4" fmla="*/ 1963053 w 2738108"/>
                  <a:gd name="connsiteY4" fmla="*/ 2511383 h 2511383"/>
                  <a:gd name="connsiteX5" fmla="*/ 0 w 2738108"/>
                  <a:gd name="connsiteY5" fmla="*/ 500971 h 2511383"/>
                  <a:gd name="connsiteX0" fmla="*/ 0 w 2684517"/>
                  <a:gd name="connsiteY0" fmla="*/ 500971 h 2511383"/>
                  <a:gd name="connsiteX1" fmla="*/ 1267704 w 2684517"/>
                  <a:gd name="connsiteY1" fmla="*/ 0 h 2511383"/>
                  <a:gd name="connsiteX2" fmla="*/ 1854724 w 2684517"/>
                  <a:gd name="connsiteY2" fmla="*/ 117398 h 2511383"/>
                  <a:gd name="connsiteX3" fmla="*/ 2684517 w 2684517"/>
                  <a:gd name="connsiteY3" fmla="*/ 2221080 h 2511383"/>
                  <a:gd name="connsiteX4" fmla="*/ 1963053 w 2684517"/>
                  <a:gd name="connsiteY4" fmla="*/ 2511383 h 2511383"/>
                  <a:gd name="connsiteX5" fmla="*/ 0 w 2684517"/>
                  <a:gd name="connsiteY5" fmla="*/ 500971 h 2511383"/>
                  <a:gd name="connsiteX0" fmla="*/ 0 w 2681212"/>
                  <a:gd name="connsiteY0" fmla="*/ 499640 h 2511383"/>
                  <a:gd name="connsiteX1" fmla="*/ 1264399 w 2681212"/>
                  <a:gd name="connsiteY1" fmla="*/ 0 h 2511383"/>
                  <a:gd name="connsiteX2" fmla="*/ 1851419 w 2681212"/>
                  <a:gd name="connsiteY2" fmla="*/ 117398 h 2511383"/>
                  <a:gd name="connsiteX3" fmla="*/ 2681212 w 2681212"/>
                  <a:gd name="connsiteY3" fmla="*/ 2221080 h 2511383"/>
                  <a:gd name="connsiteX4" fmla="*/ 1959748 w 2681212"/>
                  <a:gd name="connsiteY4" fmla="*/ 2511383 h 2511383"/>
                  <a:gd name="connsiteX5" fmla="*/ 0 w 2681212"/>
                  <a:gd name="connsiteY5" fmla="*/ 499640 h 2511383"/>
                  <a:gd name="connsiteX0" fmla="*/ 0 w 2667990"/>
                  <a:gd name="connsiteY0" fmla="*/ 494313 h 2511383"/>
                  <a:gd name="connsiteX1" fmla="*/ 1251177 w 2667990"/>
                  <a:gd name="connsiteY1" fmla="*/ 0 h 2511383"/>
                  <a:gd name="connsiteX2" fmla="*/ 1838197 w 2667990"/>
                  <a:gd name="connsiteY2" fmla="*/ 117398 h 2511383"/>
                  <a:gd name="connsiteX3" fmla="*/ 2667990 w 2667990"/>
                  <a:gd name="connsiteY3" fmla="*/ 2221080 h 2511383"/>
                  <a:gd name="connsiteX4" fmla="*/ 1946526 w 2667990"/>
                  <a:gd name="connsiteY4" fmla="*/ 2511383 h 2511383"/>
                  <a:gd name="connsiteX5" fmla="*/ 0 w 2667990"/>
                  <a:gd name="connsiteY5" fmla="*/ 494313 h 2511383"/>
                  <a:gd name="connsiteX0" fmla="*/ 0 w 2667990"/>
                  <a:gd name="connsiteY0" fmla="*/ 494313 h 2542403"/>
                  <a:gd name="connsiteX1" fmla="*/ 1251177 w 2667990"/>
                  <a:gd name="connsiteY1" fmla="*/ 0 h 2542403"/>
                  <a:gd name="connsiteX2" fmla="*/ 1838197 w 2667990"/>
                  <a:gd name="connsiteY2" fmla="*/ 117398 h 2542403"/>
                  <a:gd name="connsiteX3" fmla="*/ 2667990 w 2667990"/>
                  <a:gd name="connsiteY3" fmla="*/ 2221080 h 2542403"/>
                  <a:gd name="connsiteX4" fmla="*/ 2029856 w 2667990"/>
                  <a:gd name="connsiteY4" fmla="*/ 2542403 h 2542403"/>
                  <a:gd name="connsiteX5" fmla="*/ 0 w 2667990"/>
                  <a:gd name="connsiteY5" fmla="*/ 494313 h 2542403"/>
                  <a:gd name="connsiteX0" fmla="*/ 0 w 2663824"/>
                  <a:gd name="connsiteY0" fmla="*/ 498540 h 2542403"/>
                  <a:gd name="connsiteX1" fmla="*/ 1247011 w 2663824"/>
                  <a:gd name="connsiteY1" fmla="*/ 0 h 2542403"/>
                  <a:gd name="connsiteX2" fmla="*/ 1834031 w 2663824"/>
                  <a:gd name="connsiteY2" fmla="*/ 117398 h 2542403"/>
                  <a:gd name="connsiteX3" fmla="*/ 2663824 w 2663824"/>
                  <a:gd name="connsiteY3" fmla="*/ 2221080 h 2542403"/>
                  <a:gd name="connsiteX4" fmla="*/ 2025690 w 2663824"/>
                  <a:gd name="connsiteY4" fmla="*/ 2542403 h 2542403"/>
                  <a:gd name="connsiteX5" fmla="*/ 0 w 2663824"/>
                  <a:gd name="connsiteY5" fmla="*/ 498540 h 2542403"/>
                  <a:gd name="connsiteX0" fmla="*/ 0 w 2657213"/>
                  <a:gd name="connsiteY0" fmla="*/ 495877 h 2542403"/>
                  <a:gd name="connsiteX1" fmla="*/ 1240400 w 2657213"/>
                  <a:gd name="connsiteY1" fmla="*/ 0 h 2542403"/>
                  <a:gd name="connsiteX2" fmla="*/ 1827420 w 2657213"/>
                  <a:gd name="connsiteY2" fmla="*/ 117398 h 2542403"/>
                  <a:gd name="connsiteX3" fmla="*/ 2657213 w 2657213"/>
                  <a:gd name="connsiteY3" fmla="*/ 2221080 h 2542403"/>
                  <a:gd name="connsiteX4" fmla="*/ 2019079 w 2657213"/>
                  <a:gd name="connsiteY4" fmla="*/ 2542403 h 2542403"/>
                  <a:gd name="connsiteX5" fmla="*/ 0 w 2657213"/>
                  <a:gd name="connsiteY5" fmla="*/ 495877 h 2542403"/>
                  <a:gd name="connsiteX0" fmla="*/ 0 w 2671110"/>
                  <a:gd name="connsiteY0" fmla="*/ 495877 h 2542403"/>
                  <a:gd name="connsiteX1" fmla="*/ 1240400 w 2671110"/>
                  <a:gd name="connsiteY1" fmla="*/ 0 h 2542403"/>
                  <a:gd name="connsiteX2" fmla="*/ 1827420 w 2671110"/>
                  <a:gd name="connsiteY2" fmla="*/ 117398 h 2542403"/>
                  <a:gd name="connsiteX3" fmla="*/ 2671110 w 2671110"/>
                  <a:gd name="connsiteY3" fmla="*/ 2284645 h 2542403"/>
                  <a:gd name="connsiteX4" fmla="*/ 2019079 w 2671110"/>
                  <a:gd name="connsiteY4" fmla="*/ 2542403 h 2542403"/>
                  <a:gd name="connsiteX5" fmla="*/ 0 w 2671110"/>
                  <a:gd name="connsiteY5" fmla="*/ 495877 h 2542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71110" h="2542403">
                    <a:moveTo>
                      <a:pt x="0" y="495877"/>
                    </a:moveTo>
                    <a:lnTo>
                      <a:pt x="1240400" y="0"/>
                    </a:lnTo>
                    <a:lnTo>
                      <a:pt x="1827420" y="117398"/>
                    </a:lnTo>
                    <a:lnTo>
                      <a:pt x="2671110" y="2284645"/>
                    </a:lnTo>
                    <a:lnTo>
                      <a:pt x="2019079" y="2542403"/>
                    </a:lnTo>
                    <a:lnTo>
                      <a:pt x="0" y="495877"/>
                    </a:lnTo>
                    <a:close/>
                  </a:path>
                </a:pathLst>
              </a:custGeom>
              <a:solidFill>
                <a:srgbClr val="FFF8E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3878855" y="2790826"/>
                <a:ext cx="2136253" cy="2122115"/>
              </a:xfrm>
              <a:prstGeom prst="ellipse">
                <a:avLst/>
              </a:prstGeom>
              <a:solidFill>
                <a:schemeClr val="bg2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4361717" y="3263910"/>
                <a:ext cx="1183783" cy="1175949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/>
                  <a:cs typeface="Calibri" pitchFamily="34" charset="0"/>
                </a:endParaRPr>
              </a:p>
            </p:txBody>
          </p:sp>
          <p:grpSp>
            <p:nvGrpSpPr>
              <p:cNvPr id="13" name="Group 66"/>
              <p:cNvGrpSpPr/>
              <p:nvPr/>
            </p:nvGrpSpPr>
            <p:grpSpPr>
              <a:xfrm flipH="1">
                <a:off x="4995505" y="2208001"/>
                <a:ext cx="1497871" cy="1387066"/>
                <a:chOff x="0" y="1476466"/>
                <a:chExt cx="1677670" cy="1563914"/>
              </a:xfrm>
            </p:grpSpPr>
            <p:sp>
              <p:nvSpPr>
                <p:cNvPr id="14" name="Freeform 13"/>
                <p:cNvSpPr/>
                <p:nvPr/>
              </p:nvSpPr>
              <p:spPr>
                <a:xfrm>
                  <a:off x="0" y="1478280"/>
                  <a:ext cx="1677670" cy="1562100"/>
                </a:xfrm>
                <a:custGeom>
                  <a:avLst/>
                  <a:gdLst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35843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74495"/>
                    <a:gd name="connsiteY0" fmla="*/ 1216025 h 1562100"/>
                    <a:gd name="connsiteX1" fmla="*/ 1666875 w 1674495"/>
                    <a:gd name="connsiteY1" fmla="*/ 0 h 1562100"/>
                    <a:gd name="connsiteX2" fmla="*/ 1674495 w 1674495"/>
                    <a:gd name="connsiteY2" fmla="*/ 1089660 h 1562100"/>
                    <a:gd name="connsiteX3" fmla="*/ 1026318 w 1674495"/>
                    <a:gd name="connsiteY3" fmla="*/ 1562100 h 1562100"/>
                    <a:gd name="connsiteX4" fmla="*/ 0 w 1674495"/>
                    <a:gd name="connsiteY4" fmla="*/ 1216025 h 1562100"/>
                    <a:gd name="connsiteX0" fmla="*/ 0 w 1677670"/>
                    <a:gd name="connsiteY0" fmla="*/ 1222375 h 1562100"/>
                    <a:gd name="connsiteX1" fmla="*/ 1670050 w 1677670"/>
                    <a:gd name="connsiteY1" fmla="*/ 0 h 1562100"/>
                    <a:gd name="connsiteX2" fmla="*/ 1677670 w 1677670"/>
                    <a:gd name="connsiteY2" fmla="*/ 1089660 h 1562100"/>
                    <a:gd name="connsiteX3" fmla="*/ 1029493 w 1677670"/>
                    <a:gd name="connsiteY3" fmla="*/ 1562100 h 1562100"/>
                    <a:gd name="connsiteX4" fmla="*/ 0 w 1677670"/>
                    <a:gd name="connsiteY4" fmla="*/ 1222375 h 1562100"/>
                    <a:gd name="connsiteX0" fmla="*/ 0 w 1677670"/>
                    <a:gd name="connsiteY0" fmla="*/ 1222375 h 1562100"/>
                    <a:gd name="connsiteX1" fmla="*/ 1670050 w 1677670"/>
                    <a:gd name="connsiteY1" fmla="*/ 0 h 1562100"/>
                    <a:gd name="connsiteX2" fmla="*/ 1677670 w 1677670"/>
                    <a:gd name="connsiteY2" fmla="*/ 1089660 h 1562100"/>
                    <a:gd name="connsiteX3" fmla="*/ 1029493 w 1677670"/>
                    <a:gd name="connsiteY3" fmla="*/ 1562100 h 1562100"/>
                    <a:gd name="connsiteX4" fmla="*/ 0 w 1677670"/>
                    <a:gd name="connsiteY4" fmla="*/ 1222375 h 156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7670" h="1562100">
                      <a:moveTo>
                        <a:pt x="0" y="1222375"/>
                      </a:moveTo>
                      <a:cubicBezTo>
                        <a:pt x="142875" y="952500"/>
                        <a:pt x="450850" y="101600"/>
                        <a:pt x="1670050" y="0"/>
                      </a:cubicBezTo>
                      <a:lnTo>
                        <a:pt x="1677670" y="1089660"/>
                      </a:lnTo>
                      <a:cubicBezTo>
                        <a:pt x="1251970" y="1110784"/>
                        <a:pt x="1086008" y="1464151"/>
                        <a:pt x="1029493" y="1562100"/>
                      </a:cubicBezTo>
                      <a:lnTo>
                        <a:pt x="0" y="1222375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2">
                        <a:shade val="30000"/>
                        <a:satMod val="115000"/>
                      </a:schemeClr>
                    </a:gs>
                    <a:gs pos="50000">
                      <a:schemeClr val="tx2">
                        <a:shade val="67500"/>
                        <a:satMod val="115000"/>
                      </a:schemeClr>
                    </a:gs>
                    <a:gs pos="100000">
                      <a:schemeClr val="tx2">
                        <a:shade val="100000"/>
                        <a:satMod val="115000"/>
                      </a:schemeClr>
                    </a:gs>
                  </a:gsLst>
                  <a:lin ang="2700000" scaled="1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44083"/>
                  <a:endParaRPr lang="en-GB" sz="1292" b="1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/>
                    <a:cs typeface="Calibri" pitchFamily="34" charset="0"/>
                  </a:endParaRPr>
                </a:p>
              </p:txBody>
            </p:sp>
            <p:sp>
              <p:nvSpPr>
                <p:cNvPr id="15" name="Freeform 14"/>
                <p:cNvSpPr/>
                <p:nvPr/>
              </p:nvSpPr>
              <p:spPr>
                <a:xfrm>
                  <a:off x="29936" y="1476466"/>
                  <a:ext cx="1533780" cy="1325250"/>
                </a:xfrm>
                <a:custGeom>
                  <a:avLst/>
                  <a:gdLst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35843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74495"/>
                    <a:gd name="connsiteY0" fmla="*/ 1216025 h 1562100"/>
                    <a:gd name="connsiteX1" fmla="*/ 1666875 w 1674495"/>
                    <a:gd name="connsiteY1" fmla="*/ 0 h 1562100"/>
                    <a:gd name="connsiteX2" fmla="*/ 1674495 w 1674495"/>
                    <a:gd name="connsiteY2" fmla="*/ 1089660 h 1562100"/>
                    <a:gd name="connsiteX3" fmla="*/ 1026318 w 1674495"/>
                    <a:gd name="connsiteY3" fmla="*/ 1562100 h 1562100"/>
                    <a:gd name="connsiteX4" fmla="*/ 0 w 1674495"/>
                    <a:gd name="connsiteY4" fmla="*/ 1216025 h 1562100"/>
                    <a:gd name="connsiteX0" fmla="*/ 0 w 1677670"/>
                    <a:gd name="connsiteY0" fmla="*/ 1222375 h 1562100"/>
                    <a:gd name="connsiteX1" fmla="*/ 1670050 w 1677670"/>
                    <a:gd name="connsiteY1" fmla="*/ 0 h 1562100"/>
                    <a:gd name="connsiteX2" fmla="*/ 1677670 w 1677670"/>
                    <a:gd name="connsiteY2" fmla="*/ 1089660 h 1562100"/>
                    <a:gd name="connsiteX3" fmla="*/ 1029493 w 1677670"/>
                    <a:gd name="connsiteY3" fmla="*/ 1562100 h 1562100"/>
                    <a:gd name="connsiteX4" fmla="*/ 0 w 1677670"/>
                    <a:gd name="connsiteY4" fmla="*/ 1222375 h 1562100"/>
                    <a:gd name="connsiteX0" fmla="*/ 0 w 1677670"/>
                    <a:gd name="connsiteY0" fmla="*/ 1222375 h 1562100"/>
                    <a:gd name="connsiteX1" fmla="*/ 1670050 w 1677670"/>
                    <a:gd name="connsiteY1" fmla="*/ 0 h 1562100"/>
                    <a:gd name="connsiteX2" fmla="*/ 1677670 w 1677670"/>
                    <a:gd name="connsiteY2" fmla="*/ 1089660 h 1562100"/>
                    <a:gd name="connsiteX3" fmla="*/ 1029493 w 1677670"/>
                    <a:gd name="connsiteY3" fmla="*/ 1562100 h 1562100"/>
                    <a:gd name="connsiteX4" fmla="*/ 0 w 1677670"/>
                    <a:gd name="connsiteY4" fmla="*/ 1222375 h 1562100"/>
                    <a:gd name="connsiteX0" fmla="*/ 0 w 1633220"/>
                    <a:gd name="connsiteY0" fmla="*/ 1133475 h 1562100"/>
                    <a:gd name="connsiteX1" fmla="*/ 1625600 w 1633220"/>
                    <a:gd name="connsiteY1" fmla="*/ 0 h 1562100"/>
                    <a:gd name="connsiteX2" fmla="*/ 1633220 w 1633220"/>
                    <a:gd name="connsiteY2" fmla="*/ 1089660 h 1562100"/>
                    <a:gd name="connsiteX3" fmla="*/ 985043 w 1633220"/>
                    <a:gd name="connsiteY3" fmla="*/ 1562100 h 1562100"/>
                    <a:gd name="connsiteX4" fmla="*/ 0 w 1633220"/>
                    <a:gd name="connsiteY4" fmla="*/ 1133475 h 1562100"/>
                    <a:gd name="connsiteX0" fmla="*/ 0 w 1633220"/>
                    <a:gd name="connsiteY0" fmla="*/ 1133475 h 1562100"/>
                    <a:gd name="connsiteX1" fmla="*/ 1625600 w 1633220"/>
                    <a:gd name="connsiteY1" fmla="*/ 0 h 1562100"/>
                    <a:gd name="connsiteX2" fmla="*/ 1633220 w 1633220"/>
                    <a:gd name="connsiteY2" fmla="*/ 1089660 h 1562100"/>
                    <a:gd name="connsiteX3" fmla="*/ 985043 w 1633220"/>
                    <a:gd name="connsiteY3" fmla="*/ 1562100 h 1562100"/>
                    <a:gd name="connsiteX4" fmla="*/ 0 w 1633220"/>
                    <a:gd name="connsiteY4" fmla="*/ 1133475 h 1562100"/>
                    <a:gd name="connsiteX0" fmla="*/ 219075 w 1852295"/>
                    <a:gd name="connsiteY0" fmla="*/ 1133475 h 1562100"/>
                    <a:gd name="connsiteX1" fmla="*/ 1844675 w 1852295"/>
                    <a:gd name="connsiteY1" fmla="*/ 0 h 1562100"/>
                    <a:gd name="connsiteX2" fmla="*/ 1852295 w 1852295"/>
                    <a:gd name="connsiteY2" fmla="*/ 1089660 h 1562100"/>
                    <a:gd name="connsiteX3" fmla="*/ 1204118 w 1852295"/>
                    <a:gd name="connsiteY3" fmla="*/ 1562100 h 1562100"/>
                    <a:gd name="connsiteX4" fmla="*/ 219075 w 1852295"/>
                    <a:gd name="connsiteY4" fmla="*/ 1133475 h 1562100"/>
                    <a:gd name="connsiteX0" fmla="*/ 0 w 1633220"/>
                    <a:gd name="connsiteY0" fmla="*/ 1133475 h 1562100"/>
                    <a:gd name="connsiteX1" fmla="*/ 1625600 w 1633220"/>
                    <a:gd name="connsiteY1" fmla="*/ 0 h 1562100"/>
                    <a:gd name="connsiteX2" fmla="*/ 1633220 w 1633220"/>
                    <a:gd name="connsiteY2" fmla="*/ 1089660 h 1562100"/>
                    <a:gd name="connsiteX3" fmla="*/ 985043 w 1633220"/>
                    <a:gd name="connsiteY3" fmla="*/ 1562100 h 1562100"/>
                    <a:gd name="connsiteX4" fmla="*/ 0 w 1633220"/>
                    <a:gd name="connsiteY4" fmla="*/ 1133475 h 1562100"/>
                    <a:gd name="connsiteX0" fmla="*/ 0 w 1633220"/>
                    <a:gd name="connsiteY0" fmla="*/ 1133475 h 1562100"/>
                    <a:gd name="connsiteX1" fmla="*/ 1625600 w 1633220"/>
                    <a:gd name="connsiteY1" fmla="*/ 0 h 1562100"/>
                    <a:gd name="connsiteX2" fmla="*/ 1633220 w 1633220"/>
                    <a:gd name="connsiteY2" fmla="*/ 1089660 h 1562100"/>
                    <a:gd name="connsiteX3" fmla="*/ 985043 w 1633220"/>
                    <a:gd name="connsiteY3" fmla="*/ 1562100 h 1562100"/>
                    <a:gd name="connsiteX4" fmla="*/ 0 w 1633220"/>
                    <a:gd name="connsiteY4" fmla="*/ 1133475 h 1562100"/>
                    <a:gd name="connsiteX0" fmla="*/ 0 w 1633220"/>
                    <a:gd name="connsiteY0" fmla="*/ 1120775 h 1549400"/>
                    <a:gd name="connsiteX1" fmla="*/ 1530350 w 1633220"/>
                    <a:gd name="connsiteY1" fmla="*/ 0 h 1549400"/>
                    <a:gd name="connsiteX2" fmla="*/ 1633220 w 1633220"/>
                    <a:gd name="connsiteY2" fmla="*/ 1076960 h 1549400"/>
                    <a:gd name="connsiteX3" fmla="*/ 985043 w 1633220"/>
                    <a:gd name="connsiteY3" fmla="*/ 1549400 h 1549400"/>
                    <a:gd name="connsiteX4" fmla="*/ 0 w 1633220"/>
                    <a:gd name="connsiteY4" fmla="*/ 1120775 h 1549400"/>
                    <a:gd name="connsiteX0" fmla="*/ 0 w 1533780"/>
                    <a:gd name="connsiteY0" fmla="*/ 1120775 h 1549400"/>
                    <a:gd name="connsiteX1" fmla="*/ 1530350 w 1533780"/>
                    <a:gd name="connsiteY1" fmla="*/ 0 h 1549400"/>
                    <a:gd name="connsiteX2" fmla="*/ 1533780 w 1533780"/>
                    <a:gd name="connsiteY2" fmla="*/ 664730 h 1549400"/>
                    <a:gd name="connsiteX3" fmla="*/ 985043 w 1533780"/>
                    <a:gd name="connsiteY3" fmla="*/ 1549400 h 1549400"/>
                    <a:gd name="connsiteX4" fmla="*/ 0 w 1533780"/>
                    <a:gd name="connsiteY4" fmla="*/ 1120775 h 154940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6473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6473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3780" h="1325250">
                      <a:moveTo>
                        <a:pt x="0" y="1120775"/>
                      </a:moveTo>
                      <a:cubicBezTo>
                        <a:pt x="254000" y="615950"/>
                        <a:pt x="600075" y="123825"/>
                        <a:pt x="1530350" y="0"/>
                      </a:cubicBezTo>
                      <a:cubicBezTo>
                        <a:pt x="1531493" y="221577"/>
                        <a:pt x="1532637" y="436803"/>
                        <a:pt x="1533780" y="658380"/>
                      </a:cubicBezTo>
                      <a:cubicBezTo>
                        <a:pt x="1019180" y="708079"/>
                        <a:pt x="693348" y="1137776"/>
                        <a:pt x="619293" y="1325250"/>
                      </a:cubicBezTo>
                      <a:lnTo>
                        <a:pt x="0" y="1120775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44083"/>
                  <a:endParaRPr lang="en-GB" sz="1292" b="1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/>
                    <a:cs typeface="Calibri" pitchFamily="34" charset="0"/>
                  </a:endParaRPr>
                </a:p>
              </p:txBody>
            </p:sp>
          </p:grpSp>
          <p:sp>
            <p:nvSpPr>
              <p:cNvPr id="16" name="Freeform 15"/>
              <p:cNvSpPr/>
              <p:nvPr/>
            </p:nvSpPr>
            <p:spPr>
              <a:xfrm rot="8636781" flipH="1">
                <a:off x="4113983" y="4400770"/>
                <a:ext cx="1497871" cy="1385457"/>
              </a:xfrm>
              <a:custGeom>
                <a:avLst/>
                <a:gdLst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35843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74495"/>
                  <a:gd name="connsiteY0" fmla="*/ 1216025 h 1562100"/>
                  <a:gd name="connsiteX1" fmla="*/ 1666875 w 1674495"/>
                  <a:gd name="connsiteY1" fmla="*/ 0 h 1562100"/>
                  <a:gd name="connsiteX2" fmla="*/ 1674495 w 1674495"/>
                  <a:gd name="connsiteY2" fmla="*/ 1089660 h 1562100"/>
                  <a:gd name="connsiteX3" fmla="*/ 1026318 w 1674495"/>
                  <a:gd name="connsiteY3" fmla="*/ 1562100 h 1562100"/>
                  <a:gd name="connsiteX4" fmla="*/ 0 w 1674495"/>
                  <a:gd name="connsiteY4" fmla="*/ 121602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670" h="1562100">
                    <a:moveTo>
                      <a:pt x="0" y="1222375"/>
                    </a:moveTo>
                    <a:cubicBezTo>
                      <a:pt x="142875" y="952500"/>
                      <a:pt x="450850" y="101600"/>
                      <a:pt x="1670050" y="0"/>
                    </a:cubicBezTo>
                    <a:lnTo>
                      <a:pt x="1677670" y="1089660"/>
                    </a:lnTo>
                    <a:cubicBezTo>
                      <a:pt x="1251970" y="1110784"/>
                      <a:pt x="1086008" y="1464151"/>
                      <a:pt x="1029493" y="1562100"/>
                    </a:cubicBezTo>
                    <a:lnTo>
                      <a:pt x="0" y="122237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shade val="30000"/>
                      <a:satMod val="115000"/>
                    </a:schemeClr>
                  </a:gs>
                  <a:gs pos="50000">
                    <a:schemeClr val="accent4">
                      <a:shade val="67500"/>
                      <a:satMod val="115000"/>
                    </a:schemeClr>
                  </a:gs>
                  <a:gs pos="100000">
                    <a:schemeClr val="accent4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>
              <a:xfrm rot="8636781" flipH="1">
                <a:off x="4214033" y="4608588"/>
                <a:ext cx="1369402" cy="1175391"/>
              </a:xfrm>
              <a:custGeom>
                <a:avLst/>
                <a:gdLst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35843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74495"/>
                  <a:gd name="connsiteY0" fmla="*/ 1216025 h 1562100"/>
                  <a:gd name="connsiteX1" fmla="*/ 1666875 w 1674495"/>
                  <a:gd name="connsiteY1" fmla="*/ 0 h 1562100"/>
                  <a:gd name="connsiteX2" fmla="*/ 1674495 w 1674495"/>
                  <a:gd name="connsiteY2" fmla="*/ 1089660 h 1562100"/>
                  <a:gd name="connsiteX3" fmla="*/ 1026318 w 1674495"/>
                  <a:gd name="connsiteY3" fmla="*/ 1562100 h 1562100"/>
                  <a:gd name="connsiteX4" fmla="*/ 0 w 1674495"/>
                  <a:gd name="connsiteY4" fmla="*/ 121602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219075 w 1852295"/>
                  <a:gd name="connsiteY0" fmla="*/ 1133475 h 1562100"/>
                  <a:gd name="connsiteX1" fmla="*/ 1844675 w 1852295"/>
                  <a:gd name="connsiteY1" fmla="*/ 0 h 1562100"/>
                  <a:gd name="connsiteX2" fmla="*/ 1852295 w 1852295"/>
                  <a:gd name="connsiteY2" fmla="*/ 1089660 h 1562100"/>
                  <a:gd name="connsiteX3" fmla="*/ 1204118 w 1852295"/>
                  <a:gd name="connsiteY3" fmla="*/ 1562100 h 1562100"/>
                  <a:gd name="connsiteX4" fmla="*/ 219075 w 1852295"/>
                  <a:gd name="connsiteY4" fmla="*/ 11334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0 w 1633220"/>
                  <a:gd name="connsiteY0" fmla="*/ 1120775 h 1549400"/>
                  <a:gd name="connsiteX1" fmla="*/ 1530350 w 1633220"/>
                  <a:gd name="connsiteY1" fmla="*/ 0 h 1549400"/>
                  <a:gd name="connsiteX2" fmla="*/ 1633220 w 1633220"/>
                  <a:gd name="connsiteY2" fmla="*/ 1076960 h 1549400"/>
                  <a:gd name="connsiteX3" fmla="*/ 985043 w 1633220"/>
                  <a:gd name="connsiteY3" fmla="*/ 1549400 h 1549400"/>
                  <a:gd name="connsiteX4" fmla="*/ 0 w 1633220"/>
                  <a:gd name="connsiteY4" fmla="*/ 1120775 h 1549400"/>
                  <a:gd name="connsiteX0" fmla="*/ 0 w 1533780"/>
                  <a:gd name="connsiteY0" fmla="*/ 1120775 h 1549400"/>
                  <a:gd name="connsiteX1" fmla="*/ 1530350 w 1533780"/>
                  <a:gd name="connsiteY1" fmla="*/ 0 h 1549400"/>
                  <a:gd name="connsiteX2" fmla="*/ 1533780 w 1533780"/>
                  <a:gd name="connsiteY2" fmla="*/ 664730 h 1549400"/>
                  <a:gd name="connsiteX3" fmla="*/ 985043 w 1533780"/>
                  <a:gd name="connsiteY3" fmla="*/ 1549400 h 1549400"/>
                  <a:gd name="connsiteX4" fmla="*/ 0 w 1533780"/>
                  <a:gd name="connsiteY4" fmla="*/ 1120775 h 154940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6473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6473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3780" h="1325250">
                    <a:moveTo>
                      <a:pt x="0" y="1120775"/>
                    </a:moveTo>
                    <a:cubicBezTo>
                      <a:pt x="254000" y="615950"/>
                      <a:pt x="600075" y="123825"/>
                      <a:pt x="1530350" y="0"/>
                    </a:cubicBezTo>
                    <a:cubicBezTo>
                      <a:pt x="1531493" y="221577"/>
                      <a:pt x="1532637" y="436803"/>
                      <a:pt x="1533780" y="658380"/>
                    </a:cubicBezTo>
                    <a:cubicBezTo>
                      <a:pt x="1019180" y="708079"/>
                      <a:pt x="693348" y="1137776"/>
                      <a:pt x="619293" y="1325250"/>
                    </a:cubicBezTo>
                    <a:lnTo>
                      <a:pt x="0" y="112077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/>
                  <a:cs typeface="Calibri" pitchFamily="34" charset="0"/>
                </a:endParaRPr>
              </a:p>
            </p:txBody>
          </p:sp>
          <p:grpSp>
            <p:nvGrpSpPr>
              <p:cNvPr id="18" name="Group 74"/>
              <p:cNvGrpSpPr/>
              <p:nvPr/>
            </p:nvGrpSpPr>
            <p:grpSpPr>
              <a:xfrm rot="12933942" flipH="1">
                <a:off x="2997238" y="3455510"/>
                <a:ext cx="1497871" cy="1385457"/>
                <a:chOff x="0" y="1478280"/>
                <a:chExt cx="1677670" cy="1562100"/>
              </a:xfrm>
            </p:grpSpPr>
            <p:sp>
              <p:nvSpPr>
                <p:cNvPr id="19" name="Freeform 18"/>
                <p:cNvSpPr/>
                <p:nvPr/>
              </p:nvSpPr>
              <p:spPr>
                <a:xfrm>
                  <a:off x="0" y="1478280"/>
                  <a:ext cx="1677670" cy="1562100"/>
                </a:xfrm>
                <a:custGeom>
                  <a:avLst/>
                  <a:gdLst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35843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74495"/>
                    <a:gd name="connsiteY0" fmla="*/ 1216025 h 1562100"/>
                    <a:gd name="connsiteX1" fmla="*/ 1666875 w 1674495"/>
                    <a:gd name="connsiteY1" fmla="*/ 0 h 1562100"/>
                    <a:gd name="connsiteX2" fmla="*/ 1674495 w 1674495"/>
                    <a:gd name="connsiteY2" fmla="*/ 1089660 h 1562100"/>
                    <a:gd name="connsiteX3" fmla="*/ 1026318 w 1674495"/>
                    <a:gd name="connsiteY3" fmla="*/ 1562100 h 1562100"/>
                    <a:gd name="connsiteX4" fmla="*/ 0 w 1674495"/>
                    <a:gd name="connsiteY4" fmla="*/ 1216025 h 1562100"/>
                    <a:gd name="connsiteX0" fmla="*/ 0 w 1677670"/>
                    <a:gd name="connsiteY0" fmla="*/ 1222375 h 1562100"/>
                    <a:gd name="connsiteX1" fmla="*/ 1670050 w 1677670"/>
                    <a:gd name="connsiteY1" fmla="*/ 0 h 1562100"/>
                    <a:gd name="connsiteX2" fmla="*/ 1677670 w 1677670"/>
                    <a:gd name="connsiteY2" fmla="*/ 1089660 h 1562100"/>
                    <a:gd name="connsiteX3" fmla="*/ 1029493 w 1677670"/>
                    <a:gd name="connsiteY3" fmla="*/ 1562100 h 1562100"/>
                    <a:gd name="connsiteX4" fmla="*/ 0 w 1677670"/>
                    <a:gd name="connsiteY4" fmla="*/ 1222375 h 1562100"/>
                    <a:gd name="connsiteX0" fmla="*/ 0 w 1677670"/>
                    <a:gd name="connsiteY0" fmla="*/ 1222375 h 1562100"/>
                    <a:gd name="connsiteX1" fmla="*/ 1670050 w 1677670"/>
                    <a:gd name="connsiteY1" fmla="*/ 0 h 1562100"/>
                    <a:gd name="connsiteX2" fmla="*/ 1677670 w 1677670"/>
                    <a:gd name="connsiteY2" fmla="*/ 1089660 h 1562100"/>
                    <a:gd name="connsiteX3" fmla="*/ 1029493 w 1677670"/>
                    <a:gd name="connsiteY3" fmla="*/ 1562100 h 1562100"/>
                    <a:gd name="connsiteX4" fmla="*/ 0 w 1677670"/>
                    <a:gd name="connsiteY4" fmla="*/ 1222375 h 156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7670" h="1562100">
                      <a:moveTo>
                        <a:pt x="0" y="1222375"/>
                      </a:moveTo>
                      <a:cubicBezTo>
                        <a:pt x="142875" y="952500"/>
                        <a:pt x="450850" y="101600"/>
                        <a:pt x="1670050" y="0"/>
                      </a:cubicBezTo>
                      <a:lnTo>
                        <a:pt x="1677670" y="1089660"/>
                      </a:lnTo>
                      <a:cubicBezTo>
                        <a:pt x="1251970" y="1110784"/>
                        <a:pt x="1086008" y="1464151"/>
                        <a:pt x="1029493" y="1562100"/>
                      </a:cubicBezTo>
                      <a:lnTo>
                        <a:pt x="0" y="1222375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6">
                        <a:shade val="30000"/>
                        <a:satMod val="115000"/>
                      </a:schemeClr>
                    </a:gs>
                    <a:gs pos="50000">
                      <a:schemeClr val="accent6">
                        <a:shade val="67500"/>
                        <a:satMod val="115000"/>
                      </a:schemeClr>
                    </a:gs>
                    <a:gs pos="100000">
                      <a:schemeClr val="accent6">
                        <a:shade val="100000"/>
                        <a:satMod val="115000"/>
                      </a:schemeClr>
                    </a:gs>
                  </a:gsLst>
                  <a:lin ang="2700000" scaled="1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44083"/>
                  <a:endParaRPr lang="en-GB" sz="1292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/>
                    <a:cs typeface="Calibri" pitchFamily="34" charset="0"/>
                  </a:endParaRPr>
                </a:p>
              </p:txBody>
            </p:sp>
            <p:sp>
              <p:nvSpPr>
                <p:cNvPr id="20" name="Freeform 19"/>
                <p:cNvSpPr/>
                <p:nvPr/>
              </p:nvSpPr>
              <p:spPr>
                <a:xfrm>
                  <a:off x="32644" y="1482538"/>
                  <a:ext cx="1533780" cy="1325250"/>
                </a:xfrm>
                <a:custGeom>
                  <a:avLst/>
                  <a:gdLst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28700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84020"/>
                    <a:gd name="connsiteY0" fmla="*/ 1219200 h 1562100"/>
                    <a:gd name="connsiteX1" fmla="*/ 1676400 w 1684020"/>
                    <a:gd name="connsiteY1" fmla="*/ 0 h 1562100"/>
                    <a:gd name="connsiteX2" fmla="*/ 1684020 w 1684020"/>
                    <a:gd name="connsiteY2" fmla="*/ 1089660 h 1562100"/>
                    <a:gd name="connsiteX3" fmla="*/ 1035843 w 1684020"/>
                    <a:gd name="connsiteY3" fmla="*/ 1562100 h 1562100"/>
                    <a:gd name="connsiteX4" fmla="*/ 0 w 1684020"/>
                    <a:gd name="connsiteY4" fmla="*/ 1219200 h 1562100"/>
                    <a:gd name="connsiteX0" fmla="*/ 0 w 1674495"/>
                    <a:gd name="connsiteY0" fmla="*/ 1216025 h 1562100"/>
                    <a:gd name="connsiteX1" fmla="*/ 1666875 w 1674495"/>
                    <a:gd name="connsiteY1" fmla="*/ 0 h 1562100"/>
                    <a:gd name="connsiteX2" fmla="*/ 1674495 w 1674495"/>
                    <a:gd name="connsiteY2" fmla="*/ 1089660 h 1562100"/>
                    <a:gd name="connsiteX3" fmla="*/ 1026318 w 1674495"/>
                    <a:gd name="connsiteY3" fmla="*/ 1562100 h 1562100"/>
                    <a:gd name="connsiteX4" fmla="*/ 0 w 1674495"/>
                    <a:gd name="connsiteY4" fmla="*/ 1216025 h 1562100"/>
                    <a:gd name="connsiteX0" fmla="*/ 0 w 1677670"/>
                    <a:gd name="connsiteY0" fmla="*/ 1222375 h 1562100"/>
                    <a:gd name="connsiteX1" fmla="*/ 1670050 w 1677670"/>
                    <a:gd name="connsiteY1" fmla="*/ 0 h 1562100"/>
                    <a:gd name="connsiteX2" fmla="*/ 1677670 w 1677670"/>
                    <a:gd name="connsiteY2" fmla="*/ 1089660 h 1562100"/>
                    <a:gd name="connsiteX3" fmla="*/ 1029493 w 1677670"/>
                    <a:gd name="connsiteY3" fmla="*/ 1562100 h 1562100"/>
                    <a:gd name="connsiteX4" fmla="*/ 0 w 1677670"/>
                    <a:gd name="connsiteY4" fmla="*/ 1222375 h 1562100"/>
                    <a:gd name="connsiteX0" fmla="*/ 0 w 1677670"/>
                    <a:gd name="connsiteY0" fmla="*/ 1222375 h 1562100"/>
                    <a:gd name="connsiteX1" fmla="*/ 1670050 w 1677670"/>
                    <a:gd name="connsiteY1" fmla="*/ 0 h 1562100"/>
                    <a:gd name="connsiteX2" fmla="*/ 1677670 w 1677670"/>
                    <a:gd name="connsiteY2" fmla="*/ 1089660 h 1562100"/>
                    <a:gd name="connsiteX3" fmla="*/ 1029493 w 1677670"/>
                    <a:gd name="connsiteY3" fmla="*/ 1562100 h 1562100"/>
                    <a:gd name="connsiteX4" fmla="*/ 0 w 1677670"/>
                    <a:gd name="connsiteY4" fmla="*/ 1222375 h 1562100"/>
                    <a:gd name="connsiteX0" fmla="*/ 0 w 1633220"/>
                    <a:gd name="connsiteY0" fmla="*/ 1133475 h 1562100"/>
                    <a:gd name="connsiteX1" fmla="*/ 1625600 w 1633220"/>
                    <a:gd name="connsiteY1" fmla="*/ 0 h 1562100"/>
                    <a:gd name="connsiteX2" fmla="*/ 1633220 w 1633220"/>
                    <a:gd name="connsiteY2" fmla="*/ 1089660 h 1562100"/>
                    <a:gd name="connsiteX3" fmla="*/ 985043 w 1633220"/>
                    <a:gd name="connsiteY3" fmla="*/ 1562100 h 1562100"/>
                    <a:gd name="connsiteX4" fmla="*/ 0 w 1633220"/>
                    <a:gd name="connsiteY4" fmla="*/ 1133475 h 1562100"/>
                    <a:gd name="connsiteX0" fmla="*/ 0 w 1633220"/>
                    <a:gd name="connsiteY0" fmla="*/ 1133475 h 1562100"/>
                    <a:gd name="connsiteX1" fmla="*/ 1625600 w 1633220"/>
                    <a:gd name="connsiteY1" fmla="*/ 0 h 1562100"/>
                    <a:gd name="connsiteX2" fmla="*/ 1633220 w 1633220"/>
                    <a:gd name="connsiteY2" fmla="*/ 1089660 h 1562100"/>
                    <a:gd name="connsiteX3" fmla="*/ 985043 w 1633220"/>
                    <a:gd name="connsiteY3" fmla="*/ 1562100 h 1562100"/>
                    <a:gd name="connsiteX4" fmla="*/ 0 w 1633220"/>
                    <a:gd name="connsiteY4" fmla="*/ 1133475 h 1562100"/>
                    <a:gd name="connsiteX0" fmla="*/ 219075 w 1852295"/>
                    <a:gd name="connsiteY0" fmla="*/ 1133475 h 1562100"/>
                    <a:gd name="connsiteX1" fmla="*/ 1844675 w 1852295"/>
                    <a:gd name="connsiteY1" fmla="*/ 0 h 1562100"/>
                    <a:gd name="connsiteX2" fmla="*/ 1852295 w 1852295"/>
                    <a:gd name="connsiteY2" fmla="*/ 1089660 h 1562100"/>
                    <a:gd name="connsiteX3" fmla="*/ 1204118 w 1852295"/>
                    <a:gd name="connsiteY3" fmla="*/ 1562100 h 1562100"/>
                    <a:gd name="connsiteX4" fmla="*/ 219075 w 1852295"/>
                    <a:gd name="connsiteY4" fmla="*/ 1133475 h 1562100"/>
                    <a:gd name="connsiteX0" fmla="*/ 0 w 1633220"/>
                    <a:gd name="connsiteY0" fmla="*/ 1133475 h 1562100"/>
                    <a:gd name="connsiteX1" fmla="*/ 1625600 w 1633220"/>
                    <a:gd name="connsiteY1" fmla="*/ 0 h 1562100"/>
                    <a:gd name="connsiteX2" fmla="*/ 1633220 w 1633220"/>
                    <a:gd name="connsiteY2" fmla="*/ 1089660 h 1562100"/>
                    <a:gd name="connsiteX3" fmla="*/ 985043 w 1633220"/>
                    <a:gd name="connsiteY3" fmla="*/ 1562100 h 1562100"/>
                    <a:gd name="connsiteX4" fmla="*/ 0 w 1633220"/>
                    <a:gd name="connsiteY4" fmla="*/ 1133475 h 1562100"/>
                    <a:gd name="connsiteX0" fmla="*/ 0 w 1633220"/>
                    <a:gd name="connsiteY0" fmla="*/ 1133475 h 1562100"/>
                    <a:gd name="connsiteX1" fmla="*/ 1625600 w 1633220"/>
                    <a:gd name="connsiteY1" fmla="*/ 0 h 1562100"/>
                    <a:gd name="connsiteX2" fmla="*/ 1633220 w 1633220"/>
                    <a:gd name="connsiteY2" fmla="*/ 1089660 h 1562100"/>
                    <a:gd name="connsiteX3" fmla="*/ 985043 w 1633220"/>
                    <a:gd name="connsiteY3" fmla="*/ 1562100 h 1562100"/>
                    <a:gd name="connsiteX4" fmla="*/ 0 w 1633220"/>
                    <a:gd name="connsiteY4" fmla="*/ 1133475 h 1562100"/>
                    <a:gd name="connsiteX0" fmla="*/ 0 w 1633220"/>
                    <a:gd name="connsiteY0" fmla="*/ 1120775 h 1549400"/>
                    <a:gd name="connsiteX1" fmla="*/ 1530350 w 1633220"/>
                    <a:gd name="connsiteY1" fmla="*/ 0 h 1549400"/>
                    <a:gd name="connsiteX2" fmla="*/ 1633220 w 1633220"/>
                    <a:gd name="connsiteY2" fmla="*/ 1076960 h 1549400"/>
                    <a:gd name="connsiteX3" fmla="*/ 985043 w 1633220"/>
                    <a:gd name="connsiteY3" fmla="*/ 1549400 h 1549400"/>
                    <a:gd name="connsiteX4" fmla="*/ 0 w 1633220"/>
                    <a:gd name="connsiteY4" fmla="*/ 1120775 h 1549400"/>
                    <a:gd name="connsiteX0" fmla="*/ 0 w 1533780"/>
                    <a:gd name="connsiteY0" fmla="*/ 1120775 h 1549400"/>
                    <a:gd name="connsiteX1" fmla="*/ 1530350 w 1533780"/>
                    <a:gd name="connsiteY1" fmla="*/ 0 h 1549400"/>
                    <a:gd name="connsiteX2" fmla="*/ 1533780 w 1533780"/>
                    <a:gd name="connsiteY2" fmla="*/ 664730 h 1549400"/>
                    <a:gd name="connsiteX3" fmla="*/ 985043 w 1533780"/>
                    <a:gd name="connsiteY3" fmla="*/ 1549400 h 1549400"/>
                    <a:gd name="connsiteX4" fmla="*/ 0 w 1533780"/>
                    <a:gd name="connsiteY4" fmla="*/ 1120775 h 154940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6473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6473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  <a:gd name="connsiteX0" fmla="*/ 0 w 1533780"/>
                    <a:gd name="connsiteY0" fmla="*/ 1120775 h 1325250"/>
                    <a:gd name="connsiteX1" fmla="*/ 1530350 w 1533780"/>
                    <a:gd name="connsiteY1" fmla="*/ 0 h 1325250"/>
                    <a:gd name="connsiteX2" fmla="*/ 1533780 w 1533780"/>
                    <a:gd name="connsiteY2" fmla="*/ 658380 h 1325250"/>
                    <a:gd name="connsiteX3" fmla="*/ 619293 w 1533780"/>
                    <a:gd name="connsiteY3" fmla="*/ 1325250 h 1325250"/>
                    <a:gd name="connsiteX4" fmla="*/ 0 w 1533780"/>
                    <a:gd name="connsiteY4" fmla="*/ 1120775 h 132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3780" h="1325250">
                      <a:moveTo>
                        <a:pt x="0" y="1120775"/>
                      </a:moveTo>
                      <a:cubicBezTo>
                        <a:pt x="254000" y="615950"/>
                        <a:pt x="600075" y="123825"/>
                        <a:pt x="1530350" y="0"/>
                      </a:cubicBezTo>
                      <a:cubicBezTo>
                        <a:pt x="1531493" y="221577"/>
                        <a:pt x="1532637" y="436803"/>
                        <a:pt x="1533780" y="658380"/>
                      </a:cubicBezTo>
                      <a:cubicBezTo>
                        <a:pt x="1019180" y="708079"/>
                        <a:pt x="693348" y="1137776"/>
                        <a:pt x="619293" y="1325250"/>
                      </a:cubicBezTo>
                      <a:lnTo>
                        <a:pt x="0" y="1120775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44083"/>
                  <a:endParaRPr lang="en-GB" sz="1292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/>
                    <a:cs typeface="Calibri" pitchFamily="34" charset="0"/>
                  </a:endParaRPr>
                </a:p>
              </p:txBody>
            </p:sp>
          </p:grpSp>
          <p:sp>
            <p:nvSpPr>
              <p:cNvPr id="21" name="Freeform 20"/>
              <p:cNvSpPr/>
              <p:nvPr/>
            </p:nvSpPr>
            <p:spPr>
              <a:xfrm rot="8666058">
                <a:off x="5399078" y="3461275"/>
                <a:ext cx="1497871" cy="1385457"/>
              </a:xfrm>
              <a:custGeom>
                <a:avLst/>
                <a:gdLst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35843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74495"/>
                  <a:gd name="connsiteY0" fmla="*/ 1216025 h 1562100"/>
                  <a:gd name="connsiteX1" fmla="*/ 1666875 w 1674495"/>
                  <a:gd name="connsiteY1" fmla="*/ 0 h 1562100"/>
                  <a:gd name="connsiteX2" fmla="*/ 1674495 w 1674495"/>
                  <a:gd name="connsiteY2" fmla="*/ 1089660 h 1562100"/>
                  <a:gd name="connsiteX3" fmla="*/ 1026318 w 1674495"/>
                  <a:gd name="connsiteY3" fmla="*/ 1562100 h 1562100"/>
                  <a:gd name="connsiteX4" fmla="*/ 0 w 1674495"/>
                  <a:gd name="connsiteY4" fmla="*/ 121602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670" h="1562100">
                    <a:moveTo>
                      <a:pt x="0" y="1222375"/>
                    </a:moveTo>
                    <a:cubicBezTo>
                      <a:pt x="142875" y="952500"/>
                      <a:pt x="450850" y="101600"/>
                      <a:pt x="1670050" y="0"/>
                    </a:cubicBezTo>
                    <a:lnTo>
                      <a:pt x="1677670" y="1089660"/>
                    </a:lnTo>
                    <a:cubicBezTo>
                      <a:pt x="1251970" y="1110784"/>
                      <a:pt x="1086008" y="1464151"/>
                      <a:pt x="1029493" y="1562100"/>
                    </a:cubicBezTo>
                    <a:lnTo>
                      <a:pt x="0" y="122237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shade val="30000"/>
                      <a:satMod val="115000"/>
                    </a:schemeClr>
                  </a:gs>
                  <a:gs pos="50000">
                    <a:schemeClr val="accent2">
                      <a:shade val="67500"/>
                      <a:satMod val="115000"/>
                    </a:schemeClr>
                  </a:gs>
                  <a:gs pos="100000">
                    <a:schemeClr val="accent2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22" name="Freeform 21"/>
              <p:cNvSpPr/>
              <p:nvPr/>
            </p:nvSpPr>
            <p:spPr>
              <a:xfrm rot="8666058">
                <a:off x="5550905" y="3628152"/>
                <a:ext cx="1369402" cy="1175391"/>
              </a:xfrm>
              <a:custGeom>
                <a:avLst/>
                <a:gdLst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35843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74495"/>
                  <a:gd name="connsiteY0" fmla="*/ 1216025 h 1562100"/>
                  <a:gd name="connsiteX1" fmla="*/ 1666875 w 1674495"/>
                  <a:gd name="connsiteY1" fmla="*/ 0 h 1562100"/>
                  <a:gd name="connsiteX2" fmla="*/ 1674495 w 1674495"/>
                  <a:gd name="connsiteY2" fmla="*/ 1089660 h 1562100"/>
                  <a:gd name="connsiteX3" fmla="*/ 1026318 w 1674495"/>
                  <a:gd name="connsiteY3" fmla="*/ 1562100 h 1562100"/>
                  <a:gd name="connsiteX4" fmla="*/ 0 w 1674495"/>
                  <a:gd name="connsiteY4" fmla="*/ 121602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219075 w 1852295"/>
                  <a:gd name="connsiteY0" fmla="*/ 1133475 h 1562100"/>
                  <a:gd name="connsiteX1" fmla="*/ 1844675 w 1852295"/>
                  <a:gd name="connsiteY1" fmla="*/ 0 h 1562100"/>
                  <a:gd name="connsiteX2" fmla="*/ 1852295 w 1852295"/>
                  <a:gd name="connsiteY2" fmla="*/ 1089660 h 1562100"/>
                  <a:gd name="connsiteX3" fmla="*/ 1204118 w 1852295"/>
                  <a:gd name="connsiteY3" fmla="*/ 1562100 h 1562100"/>
                  <a:gd name="connsiteX4" fmla="*/ 219075 w 1852295"/>
                  <a:gd name="connsiteY4" fmla="*/ 11334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0 w 1633220"/>
                  <a:gd name="connsiteY0" fmla="*/ 1120775 h 1549400"/>
                  <a:gd name="connsiteX1" fmla="*/ 1530350 w 1633220"/>
                  <a:gd name="connsiteY1" fmla="*/ 0 h 1549400"/>
                  <a:gd name="connsiteX2" fmla="*/ 1633220 w 1633220"/>
                  <a:gd name="connsiteY2" fmla="*/ 1076960 h 1549400"/>
                  <a:gd name="connsiteX3" fmla="*/ 985043 w 1633220"/>
                  <a:gd name="connsiteY3" fmla="*/ 1549400 h 1549400"/>
                  <a:gd name="connsiteX4" fmla="*/ 0 w 1633220"/>
                  <a:gd name="connsiteY4" fmla="*/ 1120775 h 1549400"/>
                  <a:gd name="connsiteX0" fmla="*/ 0 w 1533780"/>
                  <a:gd name="connsiteY0" fmla="*/ 1120775 h 1549400"/>
                  <a:gd name="connsiteX1" fmla="*/ 1530350 w 1533780"/>
                  <a:gd name="connsiteY1" fmla="*/ 0 h 1549400"/>
                  <a:gd name="connsiteX2" fmla="*/ 1533780 w 1533780"/>
                  <a:gd name="connsiteY2" fmla="*/ 664730 h 1549400"/>
                  <a:gd name="connsiteX3" fmla="*/ 985043 w 1533780"/>
                  <a:gd name="connsiteY3" fmla="*/ 1549400 h 1549400"/>
                  <a:gd name="connsiteX4" fmla="*/ 0 w 1533780"/>
                  <a:gd name="connsiteY4" fmla="*/ 1120775 h 154940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6473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6473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3780" h="1325250">
                    <a:moveTo>
                      <a:pt x="0" y="1120775"/>
                    </a:moveTo>
                    <a:cubicBezTo>
                      <a:pt x="254000" y="615950"/>
                      <a:pt x="600075" y="123825"/>
                      <a:pt x="1530350" y="0"/>
                    </a:cubicBezTo>
                    <a:cubicBezTo>
                      <a:pt x="1531493" y="221577"/>
                      <a:pt x="1532637" y="436803"/>
                      <a:pt x="1533780" y="658380"/>
                    </a:cubicBezTo>
                    <a:cubicBezTo>
                      <a:pt x="1019180" y="708079"/>
                      <a:pt x="693348" y="1137776"/>
                      <a:pt x="619293" y="1325250"/>
                    </a:cubicBezTo>
                    <a:lnTo>
                      <a:pt x="0" y="112077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23" name="Freeform 22"/>
              <p:cNvSpPr/>
              <p:nvPr/>
            </p:nvSpPr>
            <p:spPr>
              <a:xfrm>
                <a:off x="3402112" y="2209610"/>
                <a:ext cx="1497871" cy="1385457"/>
              </a:xfrm>
              <a:custGeom>
                <a:avLst/>
                <a:gdLst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35843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74495"/>
                  <a:gd name="connsiteY0" fmla="*/ 1216025 h 1562100"/>
                  <a:gd name="connsiteX1" fmla="*/ 1666875 w 1674495"/>
                  <a:gd name="connsiteY1" fmla="*/ 0 h 1562100"/>
                  <a:gd name="connsiteX2" fmla="*/ 1674495 w 1674495"/>
                  <a:gd name="connsiteY2" fmla="*/ 1089660 h 1562100"/>
                  <a:gd name="connsiteX3" fmla="*/ 1026318 w 1674495"/>
                  <a:gd name="connsiteY3" fmla="*/ 1562100 h 1562100"/>
                  <a:gd name="connsiteX4" fmla="*/ 0 w 1674495"/>
                  <a:gd name="connsiteY4" fmla="*/ 121602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670" h="1562100">
                    <a:moveTo>
                      <a:pt x="0" y="1222375"/>
                    </a:moveTo>
                    <a:cubicBezTo>
                      <a:pt x="142875" y="952500"/>
                      <a:pt x="450850" y="101600"/>
                      <a:pt x="1670050" y="0"/>
                    </a:cubicBezTo>
                    <a:lnTo>
                      <a:pt x="1677670" y="1089660"/>
                    </a:lnTo>
                    <a:cubicBezTo>
                      <a:pt x="1251970" y="1110784"/>
                      <a:pt x="1086008" y="1464151"/>
                      <a:pt x="1029493" y="1562100"/>
                    </a:cubicBezTo>
                    <a:lnTo>
                      <a:pt x="0" y="1222375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24" name="Freeform 23"/>
              <p:cNvSpPr/>
              <p:nvPr/>
            </p:nvSpPr>
            <p:spPr>
              <a:xfrm>
                <a:off x="3431121" y="2208001"/>
                <a:ext cx="1369402" cy="1175391"/>
              </a:xfrm>
              <a:custGeom>
                <a:avLst/>
                <a:gdLst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28700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84020"/>
                  <a:gd name="connsiteY0" fmla="*/ 1219200 h 1562100"/>
                  <a:gd name="connsiteX1" fmla="*/ 1676400 w 1684020"/>
                  <a:gd name="connsiteY1" fmla="*/ 0 h 1562100"/>
                  <a:gd name="connsiteX2" fmla="*/ 1684020 w 1684020"/>
                  <a:gd name="connsiteY2" fmla="*/ 1089660 h 1562100"/>
                  <a:gd name="connsiteX3" fmla="*/ 1035843 w 1684020"/>
                  <a:gd name="connsiteY3" fmla="*/ 1562100 h 1562100"/>
                  <a:gd name="connsiteX4" fmla="*/ 0 w 1684020"/>
                  <a:gd name="connsiteY4" fmla="*/ 1219200 h 1562100"/>
                  <a:gd name="connsiteX0" fmla="*/ 0 w 1674495"/>
                  <a:gd name="connsiteY0" fmla="*/ 1216025 h 1562100"/>
                  <a:gd name="connsiteX1" fmla="*/ 1666875 w 1674495"/>
                  <a:gd name="connsiteY1" fmla="*/ 0 h 1562100"/>
                  <a:gd name="connsiteX2" fmla="*/ 1674495 w 1674495"/>
                  <a:gd name="connsiteY2" fmla="*/ 1089660 h 1562100"/>
                  <a:gd name="connsiteX3" fmla="*/ 1026318 w 1674495"/>
                  <a:gd name="connsiteY3" fmla="*/ 1562100 h 1562100"/>
                  <a:gd name="connsiteX4" fmla="*/ 0 w 1674495"/>
                  <a:gd name="connsiteY4" fmla="*/ 121602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  <a:gd name="connsiteX0" fmla="*/ 0 w 1677670"/>
                  <a:gd name="connsiteY0" fmla="*/ 1222375 h 1562100"/>
                  <a:gd name="connsiteX1" fmla="*/ 1670050 w 1677670"/>
                  <a:gd name="connsiteY1" fmla="*/ 0 h 1562100"/>
                  <a:gd name="connsiteX2" fmla="*/ 1677670 w 1677670"/>
                  <a:gd name="connsiteY2" fmla="*/ 1089660 h 1562100"/>
                  <a:gd name="connsiteX3" fmla="*/ 1029493 w 1677670"/>
                  <a:gd name="connsiteY3" fmla="*/ 1562100 h 1562100"/>
                  <a:gd name="connsiteX4" fmla="*/ 0 w 1677670"/>
                  <a:gd name="connsiteY4" fmla="*/ 12223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219075 w 1852295"/>
                  <a:gd name="connsiteY0" fmla="*/ 1133475 h 1562100"/>
                  <a:gd name="connsiteX1" fmla="*/ 1844675 w 1852295"/>
                  <a:gd name="connsiteY1" fmla="*/ 0 h 1562100"/>
                  <a:gd name="connsiteX2" fmla="*/ 1852295 w 1852295"/>
                  <a:gd name="connsiteY2" fmla="*/ 1089660 h 1562100"/>
                  <a:gd name="connsiteX3" fmla="*/ 1204118 w 1852295"/>
                  <a:gd name="connsiteY3" fmla="*/ 1562100 h 1562100"/>
                  <a:gd name="connsiteX4" fmla="*/ 219075 w 1852295"/>
                  <a:gd name="connsiteY4" fmla="*/ 11334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0 w 1633220"/>
                  <a:gd name="connsiteY0" fmla="*/ 1133475 h 1562100"/>
                  <a:gd name="connsiteX1" fmla="*/ 1625600 w 1633220"/>
                  <a:gd name="connsiteY1" fmla="*/ 0 h 1562100"/>
                  <a:gd name="connsiteX2" fmla="*/ 1633220 w 1633220"/>
                  <a:gd name="connsiteY2" fmla="*/ 1089660 h 1562100"/>
                  <a:gd name="connsiteX3" fmla="*/ 985043 w 1633220"/>
                  <a:gd name="connsiteY3" fmla="*/ 1562100 h 1562100"/>
                  <a:gd name="connsiteX4" fmla="*/ 0 w 1633220"/>
                  <a:gd name="connsiteY4" fmla="*/ 1133475 h 1562100"/>
                  <a:gd name="connsiteX0" fmla="*/ 0 w 1633220"/>
                  <a:gd name="connsiteY0" fmla="*/ 1120775 h 1549400"/>
                  <a:gd name="connsiteX1" fmla="*/ 1530350 w 1633220"/>
                  <a:gd name="connsiteY1" fmla="*/ 0 h 1549400"/>
                  <a:gd name="connsiteX2" fmla="*/ 1633220 w 1633220"/>
                  <a:gd name="connsiteY2" fmla="*/ 1076960 h 1549400"/>
                  <a:gd name="connsiteX3" fmla="*/ 985043 w 1633220"/>
                  <a:gd name="connsiteY3" fmla="*/ 1549400 h 1549400"/>
                  <a:gd name="connsiteX4" fmla="*/ 0 w 1633220"/>
                  <a:gd name="connsiteY4" fmla="*/ 1120775 h 1549400"/>
                  <a:gd name="connsiteX0" fmla="*/ 0 w 1533780"/>
                  <a:gd name="connsiteY0" fmla="*/ 1120775 h 1549400"/>
                  <a:gd name="connsiteX1" fmla="*/ 1530350 w 1533780"/>
                  <a:gd name="connsiteY1" fmla="*/ 0 h 1549400"/>
                  <a:gd name="connsiteX2" fmla="*/ 1533780 w 1533780"/>
                  <a:gd name="connsiteY2" fmla="*/ 664730 h 1549400"/>
                  <a:gd name="connsiteX3" fmla="*/ 985043 w 1533780"/>
                  <a:gd name="connsiteY3" fmla="*/ 1549400 h 1549400"/>
                  <a:gd name="connsiteX4" fmla="*/ 0 w 1533780"/>
                  <a:gd name="connsiteY4" fmla="*/ 1120775 h 154940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6473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6473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  <a:gd name="connsiteX0" fmla="*/ 0 w 1533780"/>
                  <a:gd name="connsiteY0" fmla="*/ 1120775 h 1325250"/>
                  <a:gd name="connsiteX1" fmla="*/ 1530350 w 1533780"/>
                  <a:gd name="connsiteY1" fmla="*/ 0 h 1325250"/>
                  <a:gd name="connsiteX2" fmla="*/ 1533780 w 1533780"/>
                  <a:gd name="connsiteY2" fmla="*/ 658380 h 1325250"/>
                  <a:gd name="connsiteX3" fmla="*/ 619293 w 1533780"/>
                  <a:gd name="connsiteY3" fmla="*/ 1325250 h 1325250"/>
                  <a:gd name="connsiteX4" fmla="*/ 0 w 1533780"/>
                  <a:gd name="connsiteY4" fmla="*/ 1120775 h 132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3780" h="1325250">
                    <a:moveTo>
                      <a:pt x="0" y="1120775"/>
                    </a:moveTo>
                    <a:cubicBezTo>
                      <a:pt x="254000" y="615950"/>
                      <a:pt x="600075" y="123825"/>
                      <a:pt x="1530350" y="0"/>
                    </a:cubicBezTo>
                    <a:cubicBezTo>
                      <a:pt x="1531493" y="221577"/>
                      <a:pt x="1532637" y="436803"/>
                      <a:pt x="1533780" y="658380"/>
                    </a:cubicBezTo>
                    <a:cubicBezTo>
                      <a:pt x="1019180" y="708079"/>
                      <a:pt x="693348" y="1137776"/>
                      <a:pt x="619293" y="1325250"/>
                    </a:cubicBezTo>
                    <a:lnTo>
                      <a:pt x="0" y="112077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44083"/>
                <a:endParaRPr lang="en-GB" sz="1292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 rot="17187717">
                <a:off x="3497649" y="2515061"/>
                <a:ext cx="2882199" cy="2778177"/>
              </a:xfrm>
              <a:prstGeom prst="rect">
                <a:avLst/>
              </a:prstGeom>
              <a:ln>
                <a:noFill/>
              </a:ln>
              <a:effectLst/>
            </p:spPr>
            <p:txBody>
              <a:bodyPr spcFirstLastPara="1" wrap="none" lIns="0" tIns="0" rIns="0" bIns="0" numCol="1">
                <a:prstTxWarp prst="textArchDown">
                  <a:avLst/>
                </a:prstTxWarp>
                <a:spAutoFit/>
              </a:bodyPr>
              <a:lstStyle/>
              <a:p>
                <a:pPr algn="ctr" defTabSz="844083"/>
                <a:r>
                  <a:rPr lang="en-GB" sz="1292" b="1" dirty="0">
                    <a:solidFill>
                      <a:srgbClr val="B10034"/>
                    </a:solidFill>
                    <a:latin typeface="Calibri"/>
                    <a:sym typeface="Calibri"/>
                  </a:rPr>
                  <a:t>CONTENT</a:t>
                </a:r>
              </a:p>
            </p:txBody>
          </p:sp>
          <p:sp>
            <p:nvSpPr>
              <p:cNvPr id="26" name="Rectangle 29"/>
              <p:cNvSpPr/>
              <p:nvPr/>
            </p:nvSpPr>
            <p:spPr>
              <a:xfrm>
                <a:off x="3497777" y="2490860"/>
                <a:ext cx="2901399" cy="2759792"/>
              </a:xfrm>
              <a:prstGeom prst="rect">
                <a:avLst/>
              </a:prstGeom>
              <a:ln>
                <a:noFill/>
              </a:ln>
              <a:effectLst/>
            </p:spPr>
            <p:txBody>
              <a:bodyPr spcFirstLastPara="1" wrap="none" lIns="0" tIns="0" rIns="0" bIns="0" numCol="1">
                <a:prstTxWarp prst="textArchDown">
                  <a:avLst/>
                </a:prstTxWarp>
                <a:spAutoFit/>
              </a:bodyPr>
              <a:lstStyle/>
              <a:p>
                <a:pPr algn="ctr" defTabSz="844083"/>
                <a:r>
                  <a:rPr lang="en-GB" sz="1292" b="1" dirty="0">
                    <a:solidFill>
                      <a:srgbClr val="55601C"/>
                    </a:solidFill>
                    <a:latin typeface="Calibri"/>
                    <a:sym typeface="Calibri"/>
                  </a:rPr>
                  <a:t>TECHNOLOGY</a:t>
                </a:r>
              </a:p>
            </p:txBody>
          </p:sp>
          <p:sp>
            <p:nvSpPr>
              <p:cNvPr id="27" name="Rectangle 30"/>
              <p:cNvSpPr/>
              <p:nvPr/>
            </p:nvSpPr>
            <p:spPr>
              <a:xfrm rot="4246934">
                <a:off x="3566483" y="2378241"/>
                <a:ext cx="2882199" cy="2778177"/>
              </a:xfrm>
              <a:prstGeom prst="rect">
                <a:avLst/>
              </a:prstGeom>
              <a:ln>
                <a:noFill/>
              </a:ln>
              <a:effectLst/>
            </p:spPr>
            <p:txBody>
              <a:bodyPr spcFirstLastPara="1" wrap="none" lIns="0" tIns="0" rIns="0" bIns="0" numCol="1">
                <a:prstTxWarp prst="textArchDown">
                  <a:avLst/>
                </a:prstTxWarp>
                <a:spAutoFit/>
              </a:bodyPr>
              <a:lstStyle/>
              <a:p>
                <a:pPr algn="ctr" defTabSz="844083"/>
                <a:r>
                  <a:rPr lang="en-GB" sz="1292" b="1" dirty="0">
                    <a:solidFill>
                      <a:srgbClr val="0096CC">
                        <a:lumMod val="75000"/>
                      </a:srgbClr>
                    </a:solidFill>
                    <a:latin typeface="Calibri"/>
                    <a:sym typeface="Calibri"/>
                  </a:rPr>
                  <a:t>MARKETING </a:t>
                </a:r>
              </a:p>
              <a:p>
                <a:pPr algn="ctr" defTabSz="844083"/>
                <a:r>
                  <a:rPr lang="en-GB" sz="1292" b="1" dirty="0">
                    <a:solidFill>
                      <a:srgbClr val="0096CC">
                        <a:lumMod val="75000"/>
                      </a:srgbClr>
                    </a:solidFill>
                    <a:latin typeface="Calibri"/>
                    <a:sym typeface="Calibri"/>
                  </a:rPr>
                  <a:t>&amp; PUBLICITY</a:t>
                </a:r>
              </a:p>
            </p:txBody>
          </p:sp>
          <p:sp>
            <p:nvSpPr>
              <p:cNvPr id="28" name="Rectangle 31"/>
              <p:cNvSpPr/>
              <p:nvPr/>
            </p:nvSpPr>
            <p:spPr>
              <a:xfrm rot="18900000">
                <a:off x="3703336" y="2372117"/>
                <a:ext cx="2901399" cy="2759792"/>
              </a:xfrm>
              <a:prstGeom prst="rect">
                <a:avLst/>
              </a:prstGeom>
              <a:ln>
                <a:noFill/>
              </a:ln>
              <a:effectLst/>
            </p:spPr>
            <p:txBody>
              <a:bodyPr spcFirstLastPara="1" wrap="none" lIns="0" tIns="0" rIns="0" bIns="0" numCol="1">
                <a:prstTxWarp prst="textArchUp">
                  <a:avLst/>
                </a:prstTxWarp>
                <a:spAutoFit/>
              </a:bodyPr>
              <a:lstStyle/>
              <a:p>
                <a:pPr algn="ctr" defTabSz="844083"/>
                <a:r>
                  <a:rPr lang="en-GB" sz="1292" b="1" dirty="0">
                    <a:solidFill>
                      <a:srgbClr val="FFC000"/>
                    </a:solidFill>
                    <a:latin typeface="Calibri"/>
                    <a:sym typeface="Calibri"/>
                  </a:rPr>
                  <a:t>PEOPLE</a:t>
                </a: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4412753" y="3505226"/>
                <a:ext cx="1114482" cy="7742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844083"/>
                <a:r>
                  <a:rPr lang="en-GB" sz="1477" b="1" dirty="0">
                    <a:solidFill>
                      <a:srgbClr val="FFFFFF"/>
                    </a:solidFill>
                    <a:latin typeface="Calibri"/>
                    <a:sym typeface="Calibri"/>
                  </a:rPr>
                  <a:t>Value Props</a:t>
                </a:r>
              </a:p>
              <a:p>
                <a:pPr algn="ctr" defTabSz="844083"/>
                <a:r>
                  <a:rPr lang="en-GB" sz="1477" b="1" dirty="0">
                    <a:solidFill>
                      <a:srgbClr val="FFFFFF"/>
                    </a:solidFill>
                    <a:latin typeface="Calibri"/>
                    <a:sym typeface="Calibri"/>
                  </a:rPr>
                  <a:t>Mobile First</a:t>
                </a:r>
              </a:p>
              <a:p>
                <a:pPr algn="ctr" defTabSz="844083"/>
                <a:r>
                  <a:rPr lang="en-GB" sz="1477" b="1" dirty="0">
                    <a:solidFill>
                      <a:srgbClr val="FFFFFF"/>
                    </a:solidFill>
                    <a:latin typeface="Calibri"/>
                    <a:sym typeface="Calibri"/>
                  </a:rPr>
                  <a:t>Video</a:t>
                </a: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3838DAB-AADA-46F9-AD54-E57AB60A481E}"/>
                  </a:ext>
                </a:extLst>
              </p:cNvPr>
              <p:cNvSpPr txBox="1"/>
              <p:nvPr/>
            </p:nvSpPr>
            <p:spPr bwMode="auto">
              <a:xfrm>
                <a:off x="7326875" y="1994115"/>
                <a:ext cx="1703865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Revenue Model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D53028C-E83E-43E0-A701-7368A84950CA}"/>
                  </a:ext>
                </a:extLst>
              </p:cNvPr>
              <p:cNvSpPr txBox="1"/>
              <p:nvPr/>
            </p:nvSpPr>
            <p:spPr bwMode="auto">
              <a:xfrm>
                <a:off x="6371081" y="2388060"/>
                <a:ext cx="1703865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Market Size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8BD537C9-C2B9-4F5B-904A-4BE82E153EA4}"/>
                  </a:ext>
                </a:extLst>
              </p:cNvPr>
              <p:cNvSpPr txBox="1"/>
              <p:nvPr/>
            </p:nvSpPr>
            <p:spPr bwMode="auto">
              <a:xfrm>
                <a:off x="5239476" y="1689674"/>
                <a:ext cx="1895965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Business Potential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12591FB-8071-44FA-8DB9-F03D432FC870}"/>
                  </a:ext>
                </a:extLst>
              </p:cNvPr>
              <p:cNvSpPr txBox="1"/>
              <p:nvPr/>
            </p:nvSpPr>
            <p:spPr bwMode="auto">
              <a:xfrm>
                <a:off x="6840692" y="3898586"/>
                <a:ext cx="1703865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Categories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DEDBE718-62A8-4257-A0DE-B2FAFA869CCE}"/>
                  </a:ext>
                </a:extLst>
              </p:cNvPr>
              <p:cNvSpPr txBox="1"/>
              <p:nvPr/>
            </p:nvSpPr>
            <p:spPr bwMode="auto">
              <a:xfrm>
                <a:off x="6579934" y="4962836"/>
                <a:ext cx="2197443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Times Group Widgets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434DFDC1-43A0-408B-80A1-96C4583A25F6}"/>
                  </a:ext>
                </a:extLst>
              </p:cNvPr>
              <p:cNvSpPr txBox="1"/>
              <p:nvPr/>
            </p:nvSpPr>
            <p:spPr bwMode="auto">
              <a:xfrm>
                <a:off x="7252288" y="4402656"/>
                <a:ext cx="2197443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Sample User Journeys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70E46259-9595-4252-9073-8E1CCF8AAA8E}"/>
                  </a:ext>
                </a:extLst>
              </p:cNvPr>
              <p:cNvSpPr txBox="1"/>
              <p:nvPr/>
            </p:nvSpPr>
            <p:spPr bwMode="auto">
              <a:xfrm>
                <a:off x="7397688" y="5556065"/>
                <a:ext cx="892438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Formats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E8427673-FD9A-4A7D-AE7C-CCFFC0749188}"/>
                  </a:ext>
                </a:extLst>
              </p:cNvPr>
              <p:cNvSpPr txBox="1"/>
              <p:nvPr/>
            </p:nvSpPr>
            <p:spPr bwMode="auto">
              <a:xfrm>
                <a:off x="3823771" y="5556065"/>
                <a:ext cx="892438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CM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582ECF7-1EF8-475F-967E-F627CFEC3F63}"/>
                  </a:ext>
                </a:extLst>
              </p:cNvPr>
              <p:cNvSpPr txBox="1"/>
              <p:nvPr/>
            </p:nvSpPr>
            <p:spPr bwMode="auto">
              <a:xfrm>
                <a:off x="4088881" y="5838949"/>
                <a:ext cx="1643477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Website vs. App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B77E3D06-8098-4AAF-8A33-4F059DBD1CD6}"/>
                  </a:ext>
                </a:extLst>
              </p:cNvPr>
              <p:cNvSpPr txBox="1"/>
              <p:nvPr/>
            </p:nvSpPr>
            <p:spPr bwMode="auto">
              <a:xfrm>
                <a:off x="4693061" y="5556065"/>
                <a:ext cx="1589354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Personalization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3D525219-0E56-4989-AB79-98AC62C8F133}"/>
                  </a:ext>
                </a:extLst>
              </p:cNvPr>
              <p:cNvSpPr txBox="1"/>
              <p:nvPr/>
            </p:nvSpPr>
            <p:spPr bwMode="auto">
              <a:xfrm>
                <a:off x="1186992" y="1683216"/>
                <a:ext cx="2197443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Team Structure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AA03D0A3-A40A-4D76-8A10-7EE7B341A9A9}"/>
                  </a:ext>
                </a:extLst>
              </p:cNvPr>
              <p:cNvSpPr txBox="1"/>
              <p:nvPr/>
            </p:nvSpPr>
            <p:spPr bwMode="auto">
              <a:xfrm>
                <a:off x="1726602" y="2127118"/>
                <a:ext cx="2197443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Job Descriptions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D582831E-CA19-4A44-AC6F-A558A3593669}"/>
                  </a:ext>
                </a:extLst>
              </p:cNvPr>
              <p:cNvSpPr txBox="1"/>
              <p:nvPr/>
            </p:nvSpPr>
            <p:spPr bwMode="auto">
              <a:xfrm>
                <a:off x="981056" y="4137674"/>
                <a:ext cx="2779069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Channels (Offline, Digital)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B7176D5A-2310-4860-B4B3-04C43098094C}"/>
                  </a:ext>
                </a:extLst>
              </p:cNvPr>
              <p:cNvSpPr txBox="1"/>
              <p:nvPr/>
            </p:nvSpPr>
            <p:spPr bwMode="auto">
              <a:xfrm>
                <a:off x="650562" y="3355203"/>
                <a:ext cx="2478197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Internal vs. External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5E9237C-99E0-4535-8207-0095BCA6BD1C}"/>
                  </a:ext>
                </a:extLst>
              </p:cNvPr>
              <p:cNvSpPr txBox="1"/>
              <p:nvPr/>
            </p:nvSpPr>
            <p:spPr bwMode="auto">
              <a:xfrm>
                <a:off x="755282" y="4868911"/>
                <a:ext cx="2478197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Cost Models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36164C3D-29CC-4B42-A228-56E7C9D2D817}"/>
                  </a:ext>
                </a:extLst>
              </p:cNvPr>
              <p:cNvSpPr txBox="1"/>
              <p:nvPr/>
            </p:nvSpPr>
            <p:spPr bwMode="auto">
              <a:xfrm>
                <a:off x="7076157" y="3322506"/>
                <a:ext cx="2197443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Print-Digital-Print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7A6D158-55D2-43AE-AB21-E8DA64083EBA}"/>
                  </a:ext>
                </a:extLst>
              </p:cNvPr>
              <p:cNvSpPr txBox="1"/>
              <p:nvPr/>
            </p:nvSpPr>
            <p:spPr bwMode="auto">
              <a:xfrm>
                <a:off x="1627766" y="5440217"/>
                <a:ext cx="1703865" cy="322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/>
              <a:p>
                <a:pPr defTabSz="844083">
                  <a:lnSpc>
                    <a:spcPct val="90000"/>
                  </a:lnSpc>
                </a:pPr>
                <a:r>
                  <a:rPr lang="en-US" sz="1662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Calibri" pitchFamily="34" charset="0"/>
                    <a:cs typeface="Calibri" pitchFamily="34" charset="0"/>
                  </a:rPr>
                  <a:t>Times Points</a:t>
                </a:r>
              </a:p>
            </p:txBody>
          </p:sp>
        </p:grp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C4B7D0D0-E300-4EF3-AC41-7B73DD426FB6}"/>
                </a:ext>
              </a:extLst>
            </p:cNvPr>
            <p:cNvSpPr/>
            <p:nvPr/>
          </p:nvSpPr>
          <p:spPr>
            <a:xfrm rot="2460000">
              <a:off x="2719662" y="2266150"/>
              <a:ext cx="3708269" cy="4331290"/>
            </a:xfrm>
            <a:prstGeom prst="rect">
              <a:avLst/>
            </a:prstGeom>
            <a:ln>
              <a:noFill/>
            </a:ln>
            <a:effectLst/>
          </p:spPr>
          <p:txBody>
            <a:bodyPr spcFirstLastPara="1" wrap="none" lIns="0" tIns="0" rIns="0" bIns="0" numCol="1">
              <a:prstTxWarp prst="textArchUp">
                <a:avLst/>
              </a:prstTxWarp>
              <a:spAutoFit/>
            </a:bodyPr>
            <a:lstStyle/>
            <a:p>
              <a:pPr algn="ctr" defTabSz="844083">
                <a:lnSpc>
                  <a:spcPct val="95000"/>
                </a:lnSpc>
              </a:pPr>
              <a:r>
                <a:rPr lang="en-GB" sz="1292" b="1" dirty="0">
                  <a:solidFill>
                    <a:srgbClr val="6A1A41"/>
                  </a:solidFill>
                  <a:latin typeface="Calibri"/>
                  <a:sym typeface="Calibri"/>
                </a:rPr>
                <a:t>BUSINES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88" y="2733"/>
            <a:ext cx="9457581" cy="672646"/>
          </a:xfrm>
        </p:spPr>
        <p:txBody>
          <a:bodyPr/>
          <a:lstStyle/>
          <a:p>
            <a:r>
              <a:rPr lang="en-US" dirty="0"/>
              <a:t>A Five Pillar </a:t>
            </a:r>
            <a:r>
              <a:rPr lang="en-US" b="1" dirty="0"/>
              <a:t>Business Model Framework </a:t>
            </a:r>
            <a:r>
              <a:rPr lang="en-US" dirty="0"/>
              <a:t>is Used for Recommending the Roadmap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>
          <a:xfrm>
            <a:off x="6462101" y="6453420"/>
            <a:ext cx="2980930" cy="186092"/>
          </a:xfrm>
        </p:spPr>
        <p:txBody>
          <a:bodyPr/>
          <a:lstStyle/>
          <a:p>
            <a:pPr defTabSz="844083">
              <a:defRPr/>
            </a:pPr>
            <a:r>
              <a:rPr lang="en-US" dirty="0">
                <a:solidFill>
                  <a:srgbClr val="85888B"/>
                </a:solidFill>
                <a:latin typeface="Calibri"/>
              </a:rPr>
              <a:t>Copyright © 2017 Capgemini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7295217" y="6669450"/>
            <a:ext cx="2147814" cy="159092"/>
          </a:xfrm>
        </p:spPr>
        <p:txBody>
          <a:bodyPr/>
          <a:lstStyle/>
          <a:p>
            <a:pPr defTabSz="844083">
              <a:defRPr/>
            </a:pPr>
            <a:fld id="{6A9CE626-3159-4274-8158-4292551456C4}" type="slidenum">
              <a:rPr lang="en-GB">
                <a:solidFill>
                  <a:srgbClr val="85888B"/>
                </a:solidFill>
              </a:rPr>
              <a:pPr defTabSz="844083">
                <a:defRPr/>
              </a:pPr>
              <a:t>4</a:t>
            </a:fld>
            <a:endParaRPr lang="en-GB" dirty="0">
              <a:solidFill>
                <a:srgbClr val="8588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1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C31445E-254C-4CD1-AA5F-AA08CBEAA2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038" b="22279"/>
          <a:stretch/>
        </p:blipFill>
        <p:spPr>
          <a:xfrm>
            <a:off x="4125596" y="3290976"/>
            <a:ext cx="5166360" cy="276457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3196A5-E239-44EA-8990-9AD4D2C61D2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85888B"/>
                </a:solidFill>
              </a:rPr>
              <a:t>Copyright © 2017 Capgemini. All rights reserved.</a:t>
            </a:r>
            <a:endParaRPr lang="en-US" dirty="0">
              <a:solidFill>
                <a:srgbClr val="85888B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F7782A-7D35-4FB5-996D-870FE094C26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>
                <a:solidFill>
                  <a:srgbClr val="85888B"/>
                </a:solidFill>
              </a:rPr>
              <a:pPr>
                <a:defRPr/>
              </a:pPr>
              <a:t>5</a:t>
            </a:fld>
            <a:endParaRPr lang="en-GB" dirty="0">
              <a:solidFill>
                <a:srgbClr val="85888B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A4A002C-DD55-47A0-A4E8-A369A550157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82898" y="1406852"/>
            <a:ext cx="7914622" cy="3750388"/>
          </a:xfrm>
        </p:spPr>
        <p:txBody>
          <a:bodyPr/>
          <a:lstStyle/>
          <a:p>
            <a:pPr algn="l"/>
            <a:r>
              <a:rPr lang="en-US" sz="2400" b="1" dirty="0"/>
              <a:t>CONTENT</a:t>
            </a:r>
          </a:p>
          <a:p>
            <a:pPr algn="l"/>
            <a:endParaRPr lang="en-US" sz="2400" dirty="0"/>
          </a:p>
          <a:p>
            <a:pPr algn="l"/>
            <a:r>
              <a:rPr lang="en-US" sz="2000" dirty="0"/>
              <a:t>	- Categories</a:t>
            </a:r>
          </a:p>
          <a:p>
            <a:pPr algn="l"/>
            <a:endParaRPr lang="en-US" sz="2000" dirty="0"/>
          </a:p>
          <a:p>
            <a:pPr algn="l"/>
            <a:r>
              <a:rPr lang="en-US" sz="2000" dirty="0"/>
              <a:t>	- Print-Digital-Print</a:t>
            </a:r>
          </a:p>
          <a:p>
            <a:pPr algn="l"/>
            <a:endParaRPr lang="en-US" sz="2000" dirty="0"/>
          </a:p>
          <a:p>
            <a:pPr algn="l"/>
            <a:r>
              <a:rPr lang="en-US" sz="2000" dirty="0"/>
              <a:t>	- Times Group Widgets</a:t>
            </a:r>
          </a:p>
          <a:p>
            <a:pPr algn="l"/>
            <a:endParaRPr lang="en-US" sz="2000" dirty="0"/>
          </a:p>
          <a:p>
            <a:pPr algn="l"/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	- </a:t>
            </a:r>
            <a:r>
              <a:rPr lang="en-US" sz="2000" dirty="0"/>
              <a:t>Times Points</a:t>
            </a:r>
          </a:p>
          <a:p>
            <a:pPr algn="l"/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pPr algn="l"/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	- Sample User Journeys</a:t>
            </a:r>
          </a:p>
          <a:p>
            <a:pPr algn="l"/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pPr algn="l"/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	- Content Formats</a:t>
            </a:r>
          </a:p>
          <a:p>
            <a:pPr algn="l"/>
            <a:endParaRPr lang="en-US" sz="2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0A8EBD-B4F6-43D1-94BE-BC1BBFCA1511}"/>
              </a:ext>
            </a:extLst>
          </p:cNvPr>
          <p:cNvSpPr/>
          <p:nvPr/>
        </p:nvSpPr>
        <p:spPr bwMode="auto">
          <a:xfrm>
            <a:off x="6933160" y="4141177"/>
            <a:ext cx="2844510" cy="1880183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AB9D4707-A75C-484B-9B0B-9C0E1CA98575}"/>
              </a:ext>
            </a:extLst>
          </p:cNvPr>
          <p:cNvSpPr/>
          <p:nvPr/>
        </p:nvSpPr>
        <p:spPr>
          <a:xfrm>
            <a:off x="1424510" y="4365130"/>
            <a:ext cx="288040" cy="720100"/>
          </a:xfrm>
          <a:prstGeom prst="leftBrac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10685E-2724-47E9-A5D9-182E015E42FA}"/>
              </a:ext>
            </a:extLst>
          </p:cNvPr>
          <p:cNvSpPr txBox="1"/>
          <p:nvPr/>
        </p:nvSpPr>
        <p:spPr bwMode="auto">
          <a:xfrm>
            <a:off x="416370" y="4581160"/>
            <a:ext cx="928459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In Appendix</a:t>
            </a:r>
          </a:p>
        </p:txBody>
      </p:sp>
    </p:spTree>
    <p:extLst>
      <p:ext uri="{BB962C8B-B14F-4D97-AF65-F5344CB8AC3E}">
        <p14:creationId xmlns:p14="http://schemas.microsoft.com/office/powerpoint/2010/main" val="7812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1E5A6A-F951-4EE4-A972-2E834512E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/>
              <a:t>Print-Digital-Print Strategy (Use Cases)</a:t>
            </a:r>
            <a:br>
              <a:rPr lang="en-US" b="1" dirty="0"/>
            </a:br>
            <a:r>
              <a:rPr lang="en-US" sz="1600" dirty="0"/>
              <a:t>Ways to increase print-engagement using the digital chann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EF73B2-B675-495B-944C-CCECE70ACA8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4" b="0" i="0" u="none" strike="noStrike" kern="1200" cap="none" spc="0" normalizeH="0" baseline="0" noProof="0" dirty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7 Capgemini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0CC221-7B54-4DF6-BA97-87E0AE4A5C7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CE626-3159-4274-8158-4292551456C4}" type="slidenum">
              <a:rPr kumimoji="0" lang="en-GB" sz="894" b="0" i="0" u="none" strike="noStrike" kern="1200" cap="none" spc="0" normalizeH="0" baseline="0" noProof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94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graphicFrame>
        <p:nvGraphicFramePr>
          <p:cNvPr id="137" name="Table 136">
            <a:extLst>
              <a:ext uri="{FF2B5EF4-FFF2-40B4-BE49-F238E27FC236}">
                <a16:creationId xmlns:a16="http://schemas.microsoft.com/office/drawing/2014/main" id="{7E819431-4500-4E19-ACA7-A6BC667A5E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7565084"/>
              </p:ext>
            </p:extLst>
          </p:nvPr>
        </p:nvGraphicFramePr>
        <p:xfrm>
          <a:off x="183164" y="1926360"/>
          <a:ext cx="9470187" cy="3230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9067">
                  <a:extLst>
                    <a:ext uri="{9D8B030D-6E8A-4147-A177-3AD203B41FA5}">
                      <a16:colId xmlns:a16="http://schemas.microsoft.com/office/drawing/2014/main" val="633412250"/>
                    </a:ext>
                  </a:extLst>
                </a:gridCol>
                <a:gridCol w="2172479">
                  <a:extLst>
                    <a:ext uri="{9D8B030D-6E8A-4147-A177-3AD203B41FA5}">
                      <a16:colId xmlns:a16="http://schemas.microsoft.com/office/drawing/2014/main" val="14926223"/>
                    </a:ext>
                  </a:extLst>
                </a:gridCol>
                <a:gridCol w="144020">
                  <a:extLst>
                    <a:ext uri="{9D8B030D-6E8A-4147-A177-3AD203B41FA5}">
                      <a16:colId xmlns:a16="http://schemas.microsoft.com/office/drawing/2014/main" val="3522748747"/>
                    </a:ext>
                  </a:extLst>
                </a:gridCol>
                <a:gridCol w="2438381">
                  <a:extLst>
                    <a:ext uri="{9D8B030D-6E8A-4147-A177-3AD203B41FA5}">
                      <a16:colId xmlns:a16="http://schemas.microsoft.com/office/drawing/2014/main" val="2084531199"/>
                    </a:ext>
                  </a:extLst>
                </a:gridCol>
                <a:gridCol w="182880">
                  <a:extLst>
                    <a:ext uri="{9D8B030D-6E8A-4147-A177-3AD203B41FA5}">
                      <a16:colId xmlns:a16="http://schemas.microsoft.com/office/drawing/2014/main" val="5255225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1373464199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251640249"/>
                    </a:ext>
                  </a:extLst>
                </a:gridCol>
              </a:tblGrid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S. No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PRINT ENGAGE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DIGITAL ENGAGE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PRINT ENGAGE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ENDORSEMENT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BY STUDENTS (%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239895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bate or pol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derboar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658970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rticl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lated quiz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derboar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422701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sk Experts (Webinars, Webchat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nswers to the best question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277640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rticl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lated video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2658899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‘Quiz of the day’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‘Quiz of the day’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derboar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7134377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rticle in ‘your corner’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ke, comment, shar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695679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ntroduction to an articl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tailed stor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7894396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tters to the Edito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eatured letters to Edito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1919046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ubmit related articles/ photo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eatured campaign articl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988223"/>
                  </a:ext>
                </a:extLst>
              </a:tr>
            </a:tbl>
          </a:graphicData>
        </a:graphic>
      </p:graphicFrame>
      <p:sp>
        <p:nvSpPr>
          <p:cNvPr id="5" name="Arrow: Striped Right 4">
            <a:extLst>
              <a:ext uri="{FF2B5EF4-FFF2-40B4-BE49-F238E27FC236}">
                <a16:creationId xmlns:a16="http://schemas.microsoft.com/office/drawing/2014/main" id="{0B52EB28-FD69-40C6-95CA-A73CBF27112F}"/>
              </a:ext>
            </a:extLst>
          </p:cNvPr>
          <p:cNvSpPr/>
          <p:nvPr/>
        </p:nvSpPr>
        <p:spPr bwMode="auto">
          <a:xfrm>
            <a:off x="2841252" y="3376185"/>
            <a:ext cx="428625" cy="361950"/>
          </a:xfrm>
          <a:prstGeom prst="stripedRightArrow">
            <a:avLst>
              <a:gd name="adj1" fmla="val 61712"/>
              <a:gd name="adj2" fmla="val 50000"/>
            </a:avLst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Arrow: Striped Right 137">
            <a:extLst>
              <a:ext uri="{FF2B5EF4-FFF2-40B4-BE49-F238E27FC236}">
                <a16:creationId xmlns:a16="http://schemas.microsoft.com/office/drawing/2014/main" id="{A972CF13-C67C-4D3B-ACAB-2C020AC185DC}"/>
              </a:ext>
            </a:extLst>
          </p:cNvPr>
          <p:cNvSpPr/>
          <p:nvPr/>
        </p:nvSpPr>
        <p:spPr bwMode="auto">
          <a:xfrm>
            <a:off x="5288978" y="3376185"/>
            <a:ext cx="428625" cy="361950"/>
          </a:xfrm>
          <a:prstGeom prst="stripedRightArrow">
            <a:avLst>
              <a:gd name="adj1" fmla="val 61712"/>
              <a:gd name="adj2" fmla="val 50000"/>
            </a:avLst>
          </a:prstGeom>
          <a:solidFill>
            <a:srgbClr val="06303B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B2B0547-B8FC-4A96-BFAE-ACEBD8326A61}"/>
              </a:ext>
            </a:extLst>
          </p:cNvPr>
          <p:cNvSpPr/>
          <p:nvPr/>
        </p:nvSpPr>
        <p:spPr bwMode="auto">
          <a:xfrm>
            <a:off x="8181975" y="2348080"/>
            <a:ext cx="1371600" cy="18288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5%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C38AEC2-3F65-4F27-8E75-24D9B1FA354E}"/>
              </a:ext>
            </a:extLst>
          </p:cNvPr>
          <p:cNvSpPr/>
          <p:nvPr/>
        </p:nvSpPr>
        <p:spPr bwMode="auto">
          <a:xfrm>
            <a:off x="8181975" y="2660360"/>
            <a:ext cx="1207008" cy="18288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6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79D0AB2-DA80-4EB2-9253-0771DB9102ED}"/>
              </a:ext>
            </a:extLst>
          </p:cNvPr>
          <p:cNvSpPr/>
          <p:nvPr/>
        </p:nvSpPr>
        <p:spPr bwMode="auto">
          <a:xfrm>
            <a:off x="8181975" y="2977635"/>
            <a:ext cx="1097280" cy="18288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5DE18AA-227B-40BA-9472-901E4FFC2B07}"/>
              </a:ext>
            </a:extLst>
          </p:cNvPr>
          <p:cNvSpPr/>
          <p:nvPr/>
        </p:nvSpPr>
        <p:spPr bwMode="auto">
          <a:xfrm>
            <a:off x="8181975" y="3294550"/>
            <a:ext cx="1024128" cy="18288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6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1EFE54C-E675-4A37-BF9B-591247B5D109}"/>
              </a:ext>
            </a:extLst>
          </p:cNvPr>
          <p:cNvSpPr/>
          <p:nvPr/>
        </p:nvSpPr>
        <p:spPr bwMode="auto">
          <a:xfrm>
            <a:off x="8181975" y="3621450"/>
            <a:ext cx="1005840" cy="18288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5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38F202C-8128-4EC2-A0D2-2596F8936270}"/>
              </a:ext>
            </a:extLst>
          </p:cNvPr>
          <p:cNvSpPr/>
          <p:nvPr/>
        </p:nvSpPr>
        <p:spPr bwMode="auto">
          <a:xfrm>
            <a:off x="8181975" y="3952265"/>
            <a:ext cx="896112" cy="18288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9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77E1592-0E01-4BCB-979F-0FC816CDD3F4}"/>
              </a:ext>
            </a:extLst>
          </p:cNvPr>
          <p:cNvSpPr/>
          <p:nvPr/>
        </p:nvSpPr>
        <p:spPr bwMode="auto">
          <a:xfrm>
            <a:off x="8181975" y="4259915"/>
            <a:ext cx="713232" cy="18288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9%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10958FC-36FD-457F-B119-61443105AAD5}"/>
              </a:ext>
            </a:extLst>
          </p:cNvPr>
          <p:cNvSpPr/>
          <p:nvPr/>
        </p:nvSpPr>
        <p:spPr bwMode="auto">
          <a:xfrm>
            <a:off x="8181975" y="4581105"/>
            <a:ext cx="621792" cy="18288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4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B504909-A4DD-4FD6-88EA-440114959457}"/>
              </a:ext>
            </a:extLst>
          </p:cNvPr>
          <p:cNvSpPr txBox="1"/>
          <p:nvPr/>
        </p:nvSpPr>
        <p:spPr bwMode="auto">
          <a:xfrm>
            <a:off x="-15690" y="1314818"/>
            <a:ext cx="990599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8 use cas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were presented to students during VOC 3 to know their preference</a:t>
            </a:r>
          </a:p>
        </p:txBody>
      </p:sp>
      <p:sp>
        <p:nvSpPr>
          <p:cNvPr id="52" name="Rounded Rectangle 25">
            <a:extLst>
              <a:ext uri="{FF2B5EF4-FFF2-40B4-BE49-F238E27FC236}">
                <a16:creationId xmlns:a16="http://schemas.microsoft.com/office/drawing/2014/main" id="{5C53DB63-21D4-405A-9B09-8893D78B29E0}"/>
              </a:ext>
            </a:extLst>
          </p:cNvPr>
          <p:cNvSpPr/>
          <p:nvPr/>
        </p:nvSpPr>
        <p:spPr>
          <a:xfrm>
            <a:off x="1" y="5589299"/>
            <a:ext cx="9906002" cy="684847"/>
          </a:xfrm>
          <a:prstGeom prst="roundRect">
            <a:avLst>
              <a:gd name="adj" fmla="val 0"/>
            </a:avLst>
          </a:prstGeom>
          <a:solidFill>
            <a:schemeClr val="bg2">
              <a:lumMod val="7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72CC8DF-AA2C-48EA-B740-0EED044025F1}"/>
              </a:ext>
            </a:extLst>
          </p:cNvPr>
          <p:cNvSpPr/>
          <p:nvPr/>
        </p:nvSpPr>
        <p:spPr bwMode="auto">
          <a:xfrm>
            <a:off x="522292" y="5589300"/>
            <a:ext cx="1694328" cy="684846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Aft>
                <a:spcPts val="300"/>
              </a:spcAft>
            </a:pPr>
            <a:r>
              <a:rPr lang="en-US" b="1" dirty="0">
                <a:solidFill>
                  <a:srgbClr val="0B71AE"/>
                </a:solidFill>
                <a:cs typeface="+mn-cs"/>
              </a:rPr>
              <a:t>Recommendation</a:t>
            </a:r>
          </a:p>
        </p:txBody>
      </p:sp>
      <p:pic>
        <p:nvPicPr>
          <p:cNvPr id="54" name="Picture 4" descr="Image result for capgemini new logo">
            <a:extLst>
              <a:ext uri="{FF2B5EF4-FFF2-40B4-BE49-F238E27FC236}">
                <a16:creationId xmlns:a16="http://schemas.microsoft.com/office/drawing/2014/main" id="{BD35E810-EB0A-444E-A3AE-966F82583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3" y="570441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ounded Rectangle 25">
            <a:extLst>
              <a:ext uri="{FF2B5EF4-FFF2-40B4-BE49-F238E27FC236}">
                <a16:creationId xmlns:a16="http://schemas.microsoft.com/office/drawing/2014/main" id="{D3111AAE-FF50-48F4-B5BC-80AB526C7646}"/>
              </a:ext>
            </a:extLst>
          </p:cNvPr>
          <p:cNvSpPr/>
          <p:nvPr/>
        </p:nvSpPr>
        <p:spPr>
          <a:xfrm>
            <a:off x="2404078" y="5589300"/>
            <a:ext cx="6979630" cy="684846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b="1" dirty="0">
                <a:latin typeface="+mn-lt"/>
              </a:rPr>
              <a:t>The PDP engagement strategy should be driven by online quizzes and polls related to print articles, and webinar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FA9D2B4-1782-4B90-AAD6-1E00522F2CBF}"/>
              </a:ext>
            </a:extLst>
          </p:cNvPr>
          <p:cNvSpPr/>
          <p:nvPr/>
        </p:nvSpPr>
        <p:spPr bwMode="auto">
          <a:xfrm>
            <a:off x="7977420" y="2270522"/>
            <a:ext cx="1745416" cy="957673"/>
          </a:xfrm>
          <a:prstGeom prst="rect">
            <a:avLst/>
          </a:prstGeom>
          <a:noFill/>
          <a:ln w="28575">
            <a:solidFill>
              <a:srgbClr val="A5002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475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/>
      <p:bldP spid="55" grpId="0"/>
      <p:bldP spid="5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tudents have a strong preference for </a:t>
            </a:r>
            <a:r>
              <a:rPr lang="en-US" sz="2400" b="1" dirty="0"/>
              <a:t>gamified</a:t>
            </a:r>
            <a:r>
              <a:rPr lang="en-US" sz="2400" dirty="0"/>
              <a:t>, </a:t>
            </a:r>
            <a:r>
              <a:rPr lang="en-US" sz="2400" b="1" dirty="0"/>
              <a:t>news,</a:t>
            </a:r>
            <a:r>
              <a:rPr lang="en-US" sz="2400" dirty="0"/>
              <a:t> and </a:t>
            </a:r>
            <a:r>
              <a:rPr lang="en-US" sz="2400" b="1" dirty="0"/>
              <a:t>topic oriented</a:t>
            </a:r>
            <a:r>
              <a:rPr lang="en-US" sz="2400" dirty="0"/>
              <a:t> apps/ websit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>
          <a:xfrm>
            <a:off x="6609230" y="6370292"/>
            <a:ext cx="3207970" cy="201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7 Capgemini. All rights reserved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7505800" y="6571893"/>
            <a:ext cx="2311400" cy="172350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CE626-3159-4274-8158-4292551456C4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 pitchFamily="34" charset="0"/>
                <a:ea typeface="+mn-ea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 pitchFamily="34" charset="0"/>
              <a:ea typeface="+mn-ea"/>
            </a:endParaRPr>
          </a:p>
        </p:txBody>
      </p:sp>
      <p:pic>
        <p:nvPicPr>
          <p:cNvPr id="8" name="Picture 2" descr="Image result for value prop icon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5526" y="2169035"/>
            <a:ext cx="1594595" cy="181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 bwMode="auto">
          <a:xfrm>
            <a:off x="413046" y="4050923"/>
            <a:ext cx="201285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Value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Proposition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2A3DFA3-607E-4D3F-9BD8-7234578FFFFD}"/>
              </a:ext>
            </a:extLst>
          </p:cNvPr>
          <p:cNvGrpSpPr>
            <a:grpSpLocks noChangeAspect="1"/>
          </p:cNvGrpSpPr>
          <p:nvPr/>
        </p:nvGrpSpPr>
        <p:grpSpPr>
          <a:xfrm>
            <a:off x="2803936" y="1002038"/>
            <a:ext cx="6217920" cy="4483222"/>
            <a:chOff x="1628171" y="978201"/>
            <a:chExt cx="7893363" cy="5691249"/>
          </a:xfrm>
        </p:grpSpPr>
        <p:pic>
          <p:nvPicPr>
            <p:cNvPr id="7" name="Picture 6">
              <a:hlinkClick r:id="rId3" action="ppaction://hlinksldjump"/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1563" y="1212460"/>
              <a:ext cx="3789970" cy="1655064"/>
            </a:xfrm>
            <a:prstGeom prst="rect">
              <a:avLst/>
            </a:prstGeom>
            <a:ln w="38100">
              <a:solidFill>
                <a:srgbClr val="C00000"/>
              </a:solidFill>
            </a:ln>
          </p:spPr>
        </p:pic>
        <p:sp>
          <p:nvSpPr>
            <p:cNvPr id="28" name="Rectangle 27"/>
            <p:cNvSpPr/>
            <p:nvPr/>
          </p:nvSpPr>
          <p:spPr bwMode="auto">
            <a:xfrm>
              <a:off x="5750709" y="1225160"/>
              <a:ext cx="3770824" cy="28803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Gamification of Learning</a:t>
              </a:r>
            </a:p>
          </p:txBody>
        </p:sp>
        <p:pic>
          <p:nvPicPr>
            <p:cNvPr id="5" name="Picture 4">
              <a:hlinkClick r:id="rId3" action="ppaction://hlinksldjump"/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1564" y="4971267"/>
              <a:ext cx="3789970" cy="1655064"/>
            </a:xfrm>
            <a:prstGeom prst="rect">
              <a:avLst/>
            </a:prstGeom>
            <a:ln w="38100">
              <a:solidFill>
                <a:srgbClr val="C00000"/>
              </a:solidFill>
            </a:ln>
          </p:spPr>
        </p:pic>
        <p:pic>
          <p:nvPicPr>
            <p:cNvPr id="10" name="Picture 20" descr="Image result for online communities icon">
              <a:hlinkClick r:id="rId6" action="ppaction://hlinksldjump"/>
            </p:cNvPr>
            <p:cNvPicPr>
              <a:picLocks noChangeAspect="1" noChangeArrowheads="1"/>
            </p:cNvPicPr>
            <p:nvPr/>
          </p:nvPicPr>
          <p:blipFill rotWithShape="1"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084724" y="4970918"/>
              <a:ext cx="1829253" cy="1390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52812" name="Picture 12" descr="Related image">
              <a:hlinkClick r:id="rId8" action="ppaction://hlinksldjump"/>
            </p:cNvPr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51"/>
            <a:stretch/>
          </p:blipFill>
          <p:spPr bwMode="auto">
            <a:xfrm>
              <a:off x="1922807" y="1209632"/>
              <a:ext cx="3459381" cy="1656230"/>
            </a:xfrm>
            <a:prstGeom prst="rect">
              <a:avLst/>
            </a:prstGeom>
            <a:noFill/>
            <a:ln w="38100">
              <a:solidFill>
                <a:srgbClr val="C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/>
            <p:cNvSpPr txBox="1"/>
            <p:nvPr/>
          </p:nvSpPr>
          <p:spPr bwMode="auto">
            <a:xfrm>
              <a:off x="1921117" y="6361213"/>
              <a:ext cx="3453511" cy="30823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lnSpc>
                  <a:spcPct val="90000"/>
                </a:lnSpc>
                <a:defRPr sz="16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</a:rPr>
                <a:t>Online Community Platform</a:t>
              </a: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1882175" y="4997613"/>
              <a:ext cx="3500014" cy="1655064"/>
            </a:xfrm>
            <a:prstGeom prst="rect">
              <a:avLst/>
            </a:prstGeom>
            <a:noFill/>
            <a:ln w="38100">
              <a:solidFill>
                <a:srgbClr val="C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5457070" y="4848345"/>
              <a:ext cx="548640" cy="548640"/>
            </a:xfrm>
            <a:prstGeom prst="ellipse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1922807" y="1209632"/>
              <a:ext cx="3459381" cy="28803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Topic Centric Website/App</a:t>
              </a:r>
            </a:p>
          </p:txBody>
        </p:sp>
        <p:sp>
          <p:nvSpPr>
            <p:cNvPr id="27" name="Oval 26"/>
            <p:cNvSpPr/>
            <p:nvPr/>
          </p:nvSpPr>
          <p:spPr bwMode="auto">
            <a:xfrm>
              <a:off x="5487086" y="1074051"/>
              <a:ext cx="548640" cy="548640"/>
            </a:xfrm>
            <a:prstGeom prst="ellipse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4" name="TextBox 23"/>
            <p:cNvSpPr txBox="1"/>
            <p:nvPr/>
          </p:nvSpPr>
          <p:spPr bwMode="auto">
            <a:xfrm>
              <a:off x="4342973" y="5095071"/>
              <a:ext cx="1031655" cy="10833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 marL="91440" marR="0" lvl="0" indent="-91440" algn="l" defTabSz="91440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Students</a:t>
              </a:r>
            </a:p>
            <a:p>
              <a:pPr marL="91440" marR="0" lvl="0" indent="-91440" algn="l" defTabSz="91440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Teachers</a:t>
              </a:r>
            </a:p>
            <a:p>
              <a:pPr marL="91440" marR="0" lvl="0" indent="-91440" algn="l" defTabSz="91440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Parents</a:t>
              </a:r>
            </a:p>
            <a:p>
              <a:pPr marL="91440" marR="0" lvl="0" indent="-91440" algn="l" defTabSz="91440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85000"/>
                      <a:lumOff val="1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School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8374007" y="5318653"/>
              <a:ext cx="1122384" cy="4247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Rewards &amp; Recognition</a:t>
              </a:r>
            </a:p>
          </p:txBody>
        </p:sp>
        <p:pic>
          <p:nvPicPr>
            <p:cNvPr id="2252802" name="Picture 2" descr="Image result for student news ">
              <a:hlinkClick r:id="rId10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11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8785" y="3102270"/>
              <a:ext cx="3484269" cy="1655064"/>
            </a:xfrm>
            <a:prstGeom prst="rect">
              <a:avLst/>
            </a:prstGeom>
            <a:ln w="38100">
              <a:solidFill>
                <a:srgbClr val="C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Oval 28"/>
            <p:cNvSpPr/>
            <p:nvPr/>
          </p:nvSpPr>
          <p:spPr bwMode="auto">
            <a:xfrm>
              <a:off x="1712550" y="4886226"/>
              <a:ext cx="548640" cy="548640"/>
            </a:xfrm>
            <a:prstGeom prst="ellipse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5" name="Oval 14"/>
            <p:cNvSpPr/>
            <p:nvPr/>
          </p:nvSpPr>
          <p:spPr bwMode="auto">
            <a:xfrm>
              <a:off x="3545005" y="4439180"/>
              <a:ext cx="548640" cy="548640"/>
            </a:xfrm>
            <a:prstGeom prst="ellipse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C601546-0F0F-43F9-960E-A3C08BFCE520}"/>
                </a:ext>
              </a:extLst>
            </p:cNvPr>
            <p:cNvSpPr/>
            <p:nvPr/>
          </p:nvSpPr>
          <p:spPr bwMode="auto">
            <a:xfrm>
              <a:off x="1911177" y="2376619"/>
              <a:ext cx="2310093" cy="49508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  <a:cs typeface="+mn-cs"/>
                </a:rPr>
                <a:t>36%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7230321-9A7B-4EC1-AB65-622988E6A4DD}"/>
                </a:ext>
              </a:extLst>
            </p:cNvPr>
            <p:cNvSpPr/>
            <p:nvPr/>
          </p:nvSpPr>
          <p:spPr bwMode="auto">
            <a:xfrm>
              <a:off x="1894873" y="6141779"/>
              <a:ext cx="2310093" cy="49508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12%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B5A25C7-1334-49C4-83CD-2AC89CAE2763}"/>
                </a:ext>
              </a:extLst>
            </p:cNvPr>
            <p:cNvSpPr/>
            <p:nvPr/>
          </p:nvSpPr>
          <p:spPr bwMode="auto">
            <a:xfrm>
              <a:off x="4982961" y="4249313"/>
              <a:ext cx="2310093" cy="49508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22%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67DB9FD-9C1D-433E-9A24-E567E2D907DA}"/>
                </a:ext>
              </a:extLst>
            </p:cNvPr>
            <p:cNvSpPr/>
            <p:nvPr/>
          </p:nvSpPr>
          <p:spPr bwMode="auto">
            <a:xfrm>
              <a:off x="5731563" y="2377588"/>
              <a:ext cx="2310093" cy="49508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23%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F96E392-7341-457E-8F54-B7C137B41327}"/>
                </a:ext>
              </a:extLst>
            </p:cNvPr>
            <p:cNvSpPr/>
            <p:nvPr/>
          </p:nvSpPr>
          <p:spPr bwMode="auto">
            <a:xfrm>
              <a:off x="5728176" y="6127483"/>
              <a:ext cx="2310093" cy="49508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7%</a:t>
              </a:r>
            </a:p>
          </p:txBody>
        </p:sp>
        <p:sp>
          <p:nvSpPr>
            <p:cNvPr id="13" name="Oval 12"/>
            <p:cNvSpPr/>
            <p:nvPr/>
          </p:nvSpPr>
          <p:spPr bwMode="auto">
            <a:xfrm>
              <a:off x="1628171" y="978201"/>
              <a:ext cx="548640" cy="548640"/>
            </a:xfrm>
            <a:prstGeom prst="ellipse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FD666A4-3384-4D04-8F52-4933C484D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712642" y="2172443"/>
              <a:ext cx="655475" cy="641649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657CCE94-EB5D-46D7-8F7A-056E7B3E32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793199" y="4064928"/>
              <a:ext cx="655475" cy="641649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1FE22BA-7642-43ED-981B-E8D8A1D46A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505800" y="2225107"/>
              <a:ext cx="655475" cy="641649"/>
            </a:xfrm>
            <a:prstGeom prst="rect">
              <a:avLst/>
            </a:prstGeom>
          </p:spPr>
        </p:pic>
      </p:grpSp>
      <p:sp>
        <p:nvSpPr>
          <p:cNvPr id="34" name="Rounded Rectangle 25">
            <a:extLst>
              <a:ext uri="{FF2B5EF4-FFF2-40B4-BE49-F238E27FC236}">
                <a16:creationId xmlns:a16="http://schemas.microsoft.com/office/drawing/2014/main" id="{DE8A06EF-4CD1-425C-B27D-A6B8BCFFF392}"/>
              </a:ext>
            </a:extLst>
          </p:cNvPr>
          <p:cNvSpPr/>
          <p:nvPr/>
        </p:nvSpPr>
        <p:spPr>
          <a:xfrm>
            <a:off x="1" y="5589299"/>
            <a:ext cx="9906002" cy="684847"/>
          </a:xfrm>
          <a:prstGeom prst="roundRect">
            <a:avLst>
              <a:gd name="adj" fmla="val 0"/>
            </a:avLst>
          </a:prstGeom>
          <a:solidFill>
            <a:schemeClr val="bg2">
              <a:lumMod val="7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5782722-A992-4DED-B5A9-2E4ABBAE10F4}"/>
              </a:ext>
            </a:extLst>
          </p:cNvPr>
          <p:cNvSpPr/>
          <p:nvPr/>
        </p:nvSpPr>
        <p:spPr bwMode="auto">
          <a:xfrm>
            <a:off x="522292" y="5589300"/>
            <a:ext cx="1694328" cy="684846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Aft>
                <a:spcPts val="300"/>
              </a:spcAft>
            </a:pPr>
            <a:r>
              <a:rPr lang="en-US" b="1" dirty="0">
                <a:solidFill>
                  <a:srgbClr val="0B71AE"/>
                </a:solidFill>
                <a:cs typeface="+mn-cs"/>
              </a:rPr>
              <a:t>Recommendation</a:t>
            </a:r>
          </a:p>
        </p:txBody>
      </p:sp>
      <p:pic>
        <p:nvPicPr>
          <p:cNvPr id="38" name="Picture 4" descr="Image result for capgemini new logo">
            <a:extLst>
              <a:ext uri="{FF2B5EF4-FFF2-40B4-BE49-F238E27FC236}">
                <a16:creationId xmlns:a16="http://schemas.microsoft.com/office/drawing/2014/main" id="{8A8659EC-8F59-4DB6-95C9-DEE23FE320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3" y="570441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ounded Rectangle 25">
            <a:extLst>
              <a:ext uri="{FF2B5EF4-FFF2-40B4-BE49-F238E27FC236}">
                <a16:creationId xmlns:a16="http://schemas.microsoft.com/office/drawing/2014/main" id="{118F200C-29FF-4D94-BB05-9C30B56891A7}"/>
              </a:ext>
            </a:extLst>
          </p:cNvPr>
          <p:cNvSpPr/>
          <p:nvPr/>
        </p:nvSpPr>
        <p:spPr>
          <a:xfrm>
            <a:off x="2404078" y="5589300"/>
            <a:ext cx="6979630" cy="684846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b="1" dirty="0">
                <a:latin typeface="+mn-lt"/>
              </a:rPr>
              <a:t>The website should offer 3 primary value propositions to the TG – ‘News for Students’, ‘Topic Centric Content’, and ‘Gamified Learning’</a:t>
            </a:r>
          </a:p>
        </p:txBody>
      </p:sp>
    </p:spTree>
    <p:extLst>
      <p:ext uri="{BB962C8B-B14F-4D97-AF65-F5344CB8AC3E}">
        <p14:creationId xmlns:p14="http://schemas.microsoft.com/office/powerpoint/2010/main" val="356469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7" grpId="0"/>
      <p:bldP spid="3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ounded Rectangle 25">
            <a:extLst>
              <a:ext uri="{FF2B5EF4-FFF2-40B4-BE49-F238E27FC236}">
                <a16:creationId xmlns:a16="http://schemas.microsoft.com/office/drawing/2014/main" id="{6B616889-06D2-4F33-86FF-4506059E36E6}"/>
              </a:ext>
            </a:extLst>
          </p:cNvPr>
          <p:cNvSpPr/>
          <p:nvPr/>
        </p:nvSpPr>
        <p:spPr>
          <a:xfrm>
            <a:off x="1" y="5589300"/>
            <a:ext cx="9906002" cy="685800"/>
          </a:xfrm>
          <a:prstGeom prst="roundRect">
            <a:avLst>
              <a:gd name="adj" fmla="val 0"/>
            </a:avLst>
          </a:prstGeom>
          <a:solidFill>
            <a:schemeClr val="bg2">
              <a:lumMod val="7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018640C-F712-4689-897F-CA3187E00AE7}"/>
              </a:ext>
            </a:extLst>
          </p:cNvPr>
          <p:cNvSpPr/>
          <p:nvPr/>
        </p:nvSpPr>
        <p:spPr bwMode="auto">
          <a:xfrm>
            <a:off x="522292" y="5589300"/>
            <a:ext cx="1694328" cy="684846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Aft>
                <a:spcPts val="300"/>
              </a:spcAft>
            </a:pPr>
            <a:r>
              <a:rPr lang="en-US" b="1" dirty="0">
                <a:solidFill>
                  <a:srgbClr val="0B71AE"/>
                </a:solidFill>
                <a:cs typeface="+mn-cs"/>
              </a:rPr>
              <a:t>Recommendation</a:t>
            </a:r>
          </a:p>
        </p:txBody>
      </p:sp>
      <p:pic>
        <p:nvPicPr>
          <p:cNvPr id="85" name="Picture 4" descr="Image result for capgemini new logo">
            <a:extLst>
              <a:ext uri="{FF2B5EF4-FFF2-40B4-BE49-F238E27FC236}">
                <a16:creationId xmlns:a16="http://schemas.microsoft.com/office/drawing/2014/main" id="{05243475-4032-4354-939F-65A2FEFA2E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3" y="570441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9CA3673-FBA4-45EF-B6B5-664BF9515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ailability of multiple </a:t>
            </a:r>
            <a:r>
              <a:rPr lang="en-US" b="1" u="sng" dirty="0"/>
              <a:t>CATEGORIES</a:t>
            </a:r>
            <a:r>
              <a:rPr lang="en-US" dirty="0"/>
              <a:t> and sub-categories needs to be revisited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F6BE9A-752D-46BF-97F8-F31ABA5728EC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6609230" y="6511569"/>
            <a:ext cx="3207970" cy="201600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7 Capgemini. All rights reserved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E50C0-B3B1-47D3-9F40-AA78D2A0323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CE626-3159-4274-8158-4292551456C4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5" name="Rectangle 10">
            <a:extLst>
              <a:ext uri="{FF2B5EF4-FFF2-40B4-BE49-F238E27FC236}">
                <a16:creationId xmlns:a16="http://schemas.microsoft.com/office/drawing/2014/main" id="{D9C42562-D4B0-4565-9364-E9154684B4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517" y="1640349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NEWS</a:t>
            </a: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94743A93-3CD2-44D8-85F2-E6EA2EEE1B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516" y="1888131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YOUR CORNER</a:t>
            </a: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22008491-E247-4F26-9037-AF06BCA09F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516" y="2132739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KNOW AND BRAG</a:t>
            </a: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E9D55959-8F11-461E-B573-F4AADD9B23C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516" y="2377911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NTERTAINMENT</a:t>
            </a:r>
          </a:p>
        </p:txBody>
      </p:sp>
      <p:sp>
        <p:nvSpPr>
          <p:cNvPr id="19" name="Rectangle 29">
            <a:extLst>
              <a:ext uri="{FF2B5EF4-FFF2-40B4-BE49-F238E27FC236}">
                <a16:creationId xmlns:a16="http://schemas.microsoft.com/office/drawing/2014/main" id="{1F74A897-2861-4947-A66F-2B57DBA5F5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5366" y="1196690"/>
            <a:ext cx="1645920" cy="3657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OI STUDENT</a:t>
            </a:r>
          </a:p>
        </p:txBody>
      </p:sp>
      <p:cxnSp>
        <p:nvCxnSpPr>
          <p:cNvPr id="20" name="Shape 80">
            <a:extLst>
              <a:ext uri="{FF2B5EF4-FFF2-40B4-BE49-F238E27FC236}">
                <a16:creationId xmlns:a16="http://schemas.microsoft.com/office/drawing/2014/main" id="{E7BE763F-04E2-445B-993F-A9D0B81B46EE}"/>
              </a:ext>
            </a:extLst>
          </p:cNvPr>
          <p:cNvCxnSpPr>
            <a:cxnSpLocks/>
            <a:stCxn id="15" idx="1"/>
            <a:endCxn id="19" idx="2"/>
          </p:cNvCxnSpPr>
          <p:nvPr/>
        </p:nvCxnSpPr>
        <p:spPr>
          <a:xfrm rot="10800000">
            <a:off x="1378327" y="1562451"/>
            <a:ext cx="257191" cy="192199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21" name="Shape 82">
            <a:extLst>
              <a:ext uri="{FF2B5EF4-FFF2-40B4-BE49-F238E27FC236}">
                <a16:creationId xmlns:a16="http://schemas.microsoft.com/office/drawing/2014/main" id="{83A99771-87A2-473A-BE69-9F54E879F17A}"/>
              </a:ext>
            </a:extLst>
          </p:cNvPr>
          <p:cNvCxnSpPr>
            <a:cxnSpLocks/>
            <a:stCxn id="16" idx="1"/>
            <a:endCxn id="19" idx="2"/>
          </p:cNvCxnSpPr>
          <p:nvPr/>
        </p:nvCxnSpPr>
        <p:spPr>
          <a:xfrm rot="10800000">
            <a:off x="1378326" y="1562451"/>
            <a:ext cx="257190" cy="439981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22" name="Shape 84">
            <a:extLst>
              <a:ext uri="{FF2B5EF4-FFF2-40B4-BE49-F238E27FC236}">
                <a16:creationId xmlns:a16="http://schemas.microsoft.com/office/drawing/2014/main" id="{1ED51584-B7B1-44BA-8C75-CB1B1544E589}"/>
              </a:ext>
            </a:extLst>
          </p:cNvPr>
          <p:cNvCxnSpPr>
            <a:cxnSpLocks/>
            <a:stCxn id="17" idx="1"/>
            <a:endCxn id="19" idx="2"/>
          </p:cNvCxnSpPr>
          <p:nvPr/>
        </p:nvCxnSpPr>
        <p:spPr>
          <a:xfrm rot="10800000">
            <a:off x="1378326" y="1562451"/>
            <a:ext cx="257190" cy="684589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23" name="Shape 86">
            <a:extLst>
              <a:ext uri="{FF2B5EF4-FFF2-40B4-BE49-F238E27FC236}">
                <a16:creationId xmlns:a16="http://schemas.microsoft.com/office/drawing/2014/main" id="{6C858C0E-C666-4085-B07A-555BF8AF6785}"/>
              </a:ext>
            </a:extLst>
          </p:cNvPr>
          <p:cNvCxnSpPr>
            <a:cxnSpLocks/>
            <a:stCxn id="18" idx="1"/>
            <a:endCxn id="19" idx="2"/>
          </p:cNvCxnSpPr>
          <p:nvPr/>
        </p:nvCxnSpPr>
        <p:spPr>
          <a:xfrm rot="10800000">
            <a:off x="1378326" y="1562451"/>
            <a:ext cx="257190" cy="929761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sp>
        <p:nvSpPr>
          <p:cNvPr id="28" name="Rectangle 10">
            <a:extLst>
              <a:ext uri="{FF2B5EF4-FFF2-40B4-BE49-F238E27FC236}">
                <a16:creationId xmlns:a16="http://schemas.microsoft.com/office/drawing/2014/main" id="{282C617B-4871-4076-A728-5B6D8BCF779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956" y="2626119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OMG</a:t>
            </a:r>
          </a:p>
        </p:txBody>
      </p:sp>
      <p:sp>
        <p:nvSpPr>
          <p:cNvPr id="29" name="Rectangle 11">
            <a:extLst>
              <a:ext uri="{FF2B5EF4-FFF2-40B4-BE49-F238E27FC236}">
                <a16:creationId xmlns:a16="http://schemas.microsoft.com/office/drawing/2014/main" id="{8F7D0D98-8FE2-40C7-97A3-ABBB2B9077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955" y="2876325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HOW TO</a:t>
            </a:r>
          </a:p>
        </p:txBody>
      </p:sp>
      <p:sp>
        <p:nvSpPr>
          <p:cNvPr id="30" name="Rectangle 12">
            <a:extLst>
              <a:ext uri="{FF2B5EF4-FFF2-40B4-BE49-F238E27FC236}">
                <a16:creationId xmlns:a16="http://schemas.microsoft.com/office/drawing/2014/main" id="{66C46885-5225-45CD-AB48-0B7DAAE602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955" y="3127029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LIFESTYLE</a:t>
            </a: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9A3ADC6E-93EF-4ACF-9527-72E5A4E4444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955" y="3375890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PORTS</a:t>
            </a:r>
          </a:p>
        </p:txBody>
      </p:sp>
      <p:cxnSp>
        <p:nvCxnSpPr>
          <p:cNvPr id="32" name="Shape 80">
            <a:extLst>
              <a:ext uri="{FF2B5EF4-FFF2-40B4-BE49-F238E27FC236}">
                <a16:creationId xmlns:a16="http://schemas.microsoft.com/office/drawing/2014/main" id="{6CEACD0E-3993-4224-8DF9-89A0179BB087}"/>
              </a:ext>
            </a:extLst>
          </p:cNvPr>
          <p:cNvCxnSpPr>
            <a:cxnSpLocks/>
            <a:stCxn id="28" idx="1"/>
            <a:endCxn id="19" idx="2"/>
          </p:cNvCxnSpPr>
          <p:nvPr/>
        </p:nvCxnSpPr>
        <p:spPr>
          <a:xfrm rot="10800000">
            <a:off x="1378326" y="1562451"/>
            <a:ext cx="257630" cy="1177969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33" name="Shape 82">
            <a:extLst>
              <a:ext uri="{FF2B5EF4-FFF2-40B4-BE49-F238E27FC236}">
                <a16:creationId xmlns:a16="http://schemas.microsoft.com/office/drawing/2014/main" id="{4FCC558A-3B24-4618-AAC5-0ED071133E5E}"/>
              </a:ext>
            </a:extLst>
          </p:cNvPr>
          <p:cNvCxnSpPr>
            <a:cxnSpLocks/>
            <a:stCxn id="29" idx="1"/>
            <a:endCxn id="19" idx="2"/>
          </p:cNvCxnSpPr>
          <p:nvPr/>
        </p:nvCxnSpPr>
        <p:spPr>
          <a:xfrm rot="10800000">
            <a:off x="1378327" y="1562451"/>
            <a:ext cx="257629" cy="1428175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34" name="Shape 84">
            <a:extLst>
              <a:ext uri="{FF2B5EF4-FFF2-40B4-BE49-F238E27FC236}">
                <a16:creationId xmlns:a16="http://schemas.microsoft.com/office/drawing/2014/main" id="{1242F1BD-6B9E-40D7-909C-FABB33BCB099}"/>
              </a:ext>
            </a:extLst>
          </p:cNvPr>
          <p:cNvCxnSpPr>
            <a:cxnSpLocks/>
            <a:stCxn id="30" idx="1"/>
            <a:endCxn id="19" idx="2"/>
          </p:cNvCxnSpPr>
          <p:nvPr/>
        </p:nvCxnSpPr>
        <p:spPr>
          <a:xfrm rot="10800000">
            <a:off x="1378327" y="1562451"/>
            <a:ext cx="257629" cy="1678879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35" name="Shape 86">
            <a:extLst>
              <a:ext uri="{FF2B5EF4-FFF2-40B4-BE49-F238E27FC236}">
                <a16:creationId xmlns:a16="http://schemas.microsoft.com/office/drawing/2014/main" id="{D80D5C1B-9D64-4679-988E-CF5E93148A30}"/>
              </a:ext>
            </a:extLst>
          </p:cNvPr>
          <p:cNvCxnSpPr>
            <a:cxnSpLocks/>
            <a:stCxn id="31" idx="1"/>
            <a:endCxn id="19" idx="2"/>
          </p:cNvCxnSpPr>
          <p:nvPr/>
        </p:nvCxnSpPr>
        <p:spPr>
          <a:xfrm rot="10800000">
            <a:off x="1378327" y="1562450"/>
            <a:ext cx="257629" cy="1927740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sp>
        <p:nvSpPr>
          <p:cNvPr id="40" name="Rectangle 10">
            <a:extLst>
              <a:ext uri="{FF2B5EF4-FFF2-40B4-BE49-F238E27FC236}">
                <a16:creationId xmlns:a16="http://schemas.microsoft.com/office/drawing/2014/main" id="{ED279450-5F01-4543-AF22-56DE5FCEEC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517" y="3622674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CI-TECH</a:t>
            </a:r>
          </a:p>
        </p:txBody>
      </p:sp>
      <p:sp>
        <p:nvSpPr>
          <p:cNvPr id="41" name="Rectangle 11">
            <a:extLst>
              <a:ext uri="{FF2B5EF4-FFF2-40B4-BE49-F238E27FC236}">
                <a16:creationId xmlns:a16="http://schemas.microsoft.com/office/drawing/2014/main" id="{5A584B12-E1BB-4486-8532-9B3F0FD7B2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516" y="3870496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IMEKILLER</a:t>
            </a:r>
          </a:p>
        </p:txBody>
      </p:sp>
      <p:sp>
        <p:nvSpPr>
          <p:cNvPr id="42" name="Rectangle 12">
            <a:extLst>
              <a:ext uri="{FF2B5EF4-FFF2-40B4-BE49-F238E27FC236}">
                <a16:creationId xmlns:a16="http://schemas.microsoft.com/office/drawing/2014/main" id="{7CB6A508-35B5-4658-AF39-CE580ABF53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516" y="4112262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VENTS</a:t>
            </a:r>
          </a:p>
        </p:txBody>
      </p:sp>
      <p:sp>
        <p:nvSpPr>
          <p:cNvPr id="43" name="Rectangle 13">
            <a:extLst>
              <a:ext uri="{FF2B5EF4-FFF2-40B4-BE49-F238E27FC236}">
                <a16:creationId xmlns:a16="http://schemas.microsoft.com/office/drawing/2014/main" id="{8578EBD9-2268-4CE9-9F3F-2AF714AB74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516" y="4364616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MORE</a:t>
            </a:r>
          </a:p>
        </p:txBody>
      </p:sp>
      <p:cxnSp>
        <p:nvCxnSpPr>
          <p:cNvPr id="44" name="Shape 80">
            <a:extLst>
              <a:ext uri="{FF2B5EF4-FFF2-40B4-BE49-F238E27FC236}">
                <a16:creationId xmlns:a16="http://schemas.microsoft.com/office/drawing/2014/main" id="{F166E37F-2615-4C75-9A47-C693F8A95FDC}"/>
              </a:ext>
            </a:extLst>
          </p:cNvPr>
          <p:cNvCxnSpPr>
            <a:cxnSpLocks/>
            <a:stCxn id="40" idx="1"/>
            <a:endCxn id="19" idx="2"/>
          </p:cNvCxnSpPr>
          <p:nvPr/>
        </p:nvCxnSpPr>
        <p:spPr>
          <a:xfrm rot="10800000">
            <a:off x="1378327" y="1562450"/>
            <a:ext cx="257191" cy="2174524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45" name="Shape 82">
            <a:extLst>
              <a:ext uri="{FF2B5EF4-FFF2-40B4-BE49-F238E27FC236}">
                <a16:creationId xmlns:a16="http://schemas.microsoft.com/office/drawing/2014/main" id="{6C57EEE8-35FE-4959-9D02-322AC7959C5E}"/>
              </a:ext>
            </a:extLst>
          </p:cNvPr>
          <p:cNvCxnSpPr>
            <a:cxnSpLocks/>
            <a:stCxn id="41" idx="1"/>
            <a:endCxn id="19" idx="2"/>
          </p:cNvCxnSpPr>
          <p:nvPr/>
        </p:nvCxnSpPr>
        <p:spPr>
          <a:xfrm rot="10800000">
            <a:off x="1378326" y="1562450"/>
            <a:ext cx="257190" cy="2422346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46" name="Shape 84">
            <a:extLst>
              <a:ext uri="{FF2B5EF4-FFF2-40B4-BE49-F238E27FC236}">
                <a16:creationId xmlns:a16="http://schemas.microsoft.com/office/drawing/2014/main" id="{3B8E8B4D-7AC4-4031-80D7-B64419E1AEEC}"/>
              </a:ext>
            </a:extLst>
          </p:cNvPr>
          <p:cNvCxnSpPr>
            <a:cxnSpLocks/>
            <a:stCxn id="42" idx="1"/>
            <a:endCxn id="19" idx="2"/>
          </p:cNvCxnSpPr>
          <p:nvPr/>
        </p:nvCxnSpPr>
        <p:spPr>
          <a:xfrm rot="10800000">
            <a:off x="1378326" y="1562450"/>
            <a:ext cx="257190" cy="2664112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47" name="Shape 86">
            <a:extLst>
              <a:ext uri="{FF2B5EF4-FFF2-40B4-BE49-F238E27FC236}">
                <a16:creationId xmlns:a16="http://schemas.microsoft.com/office/drawing/2014/main" id="{EAF6FEAF-71F6-4485-89F5-742C654DD0E6}"/>
              </a:ext>
            </a:extLst>
          </p:cNvPr>
          <p:cNvCxnSpPr>
            <a:cxnSpLocks/>
            <a:stCxn id="43" idx="1"/>
            <a:endCxn id="19" idx="2"/>
          </p:cNvCxnSpPr>
          <p:nvPr/>
        </p:nvCxnSpPr>
        <p:spPr>
          <a:xfrm rot="10800000">
            <a:off x="1378326" y="1562450"/>
            <a:ext cx="257190" cy="2916466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sp>
        <p:nvSpPr>
          <p:cNvPr id="48" name="Rectangle 10">
            <a:extLst>
              <a:ext uri="{FF2B5EF4-FFF2-40B4-BE49-F238E27FC236}">
                <a16:creationId xmlns:a16="http://schemas.microsoft.com/office/drawing/2014/main" id="{E5401FC0-0DFE-4DA1-BD1C-D2275CFF6FB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5956" y="4607857"/>
            <a:ext cx="1371600" cy="228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TUDENT FORUM</a:t>
            </a:r>
          </a:p>
        </p:txBody>
      </p:sp>
      <p:cxnSp>
        <p:nvCxnSpPr>
          <p:cNvPr id="49" name="Shape 80">
            <a:extLst>
              <a:ext uri="{FF2B5EF4-FFF2-40B4-BE49-F238E27FC236}">
                <a16:creationId xmlns:a16="http://schemas.microsoft.com/office/drawing/2014/main" id="{1BC46403-87E1-4E60-97CA-9FE9A176CC2B}"/>
              </a:ext>
            </a:extLst>
          </p:cNvPr>
          <p:cNvCxnSpPr>
            <a:cxnSpLocks/>
            <a:stCxn id="48" idx="1"/>
            <a:endCxn id="19" idx="2"/>
          </p:cNvCxnSpPr>
          <p:nvPr/>
        </p:nvCxnSpPr>
        <p:spPr>
          <a:xfrm rot="10800000">
            <a:off x="1378326" y="1562451"/>
            <a:ext cx="257630" cy="3159707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sp>
        <p:nvSpPr>
          <p:cNvPr id="56" name="Rectangle 10">
            <a:extLst>
              <a:ext uri="{FF2B5EF4-FFF2-40B4-BE49-F238E27FC236}">
                <a16:creationId xmlns:a16="http://schemas.microsoft.com/office/drawing/2014/main" id="{93135DAE-676B-4AF7-B9A7-0BA0BA596EC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740" y="163130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OP NEWS</a:t>
            </a:r>
          </a:p>
        </p:txBody>
      </p:sp>
      <p:sp>
        <p:nvSpPr>
          <p:cNvPr id="59" name="Rectangle 10">
            <a:extLst>
              <a:ext uri="{FF2B5EF4-FFF2-40B4-BE49-F238E27FC236}">
                <a16:creationId xmlns:a16="http://schemas.microsoft.com/office/drawing/2014/main" id="{5EDBAD79-7D99-4F7F-906D-592B178A4F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4826" y="163130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NEWS IN ATLAS</a:t>
            </a:r>
          </a:p>
        </p:txBody>
      </p:sp>
      <p:sp>
        <p:nvSpPr>
          <p:cNvPr id="55" name="Rectangle 10">
            <a:extLst>
              <a:ext uri="{FF2B5EF4-FFF2-40B4-BE49-F238E27FC236}">
                <a16:creationId xmlns:a16="http://schemas.microsoft.com/office/drawing/2014/main" id="{FA862E83-D767-4012-88E8-AA6AF7FE32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10354" y="162875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NEWSMAKERS</a:t>
            </a:r>
          </a:p>
        </p:txBody>
      </p:sp>
      <p:sp>
        <p:nvSpPr>
          <p:cNvPr id="73" name="Rectangle 10">
            <a:extLst>
              <a:ext uri="{FF2B5EF4-FFF2-40B4-BE49-F238E27FC236}">
                <a16:creationId xmlns:a16="http://schemas.microsoft.com/office/drawing/2014/main" id="{4DDC22CE-95CB-41B6-A162-2E8D417B924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740" y="1885391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POLLS</a:t>
            </a:r>
          </a:p>
        </p:txBody>
      </p:sp>
      <p:sp>
        <p:nvSpPr>
          <p:cNvPr id="74" name="Rectangle 10">
            <a:extLst>
              <a:ext uri="{FF2B5EF4-FFF2-40B4-BE49-F238E27FC236}">
                <a16:creationId xmlns:a16="http://schemas.microsoft.com/office/drawing/2014/main" id="{70B0385B-EF1C-4D38-987D-C92F3D96919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4826" y="1885391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ACTION REACTION</a:t>
            </a:r>
          </a:p>
        </p:txBody>
      </p:sp>
      <p:sp>
        <p:nvSpPr>
          <p:cNvPr id="75" name="Rectangle 10">
            <a:extLst>
              <a:ext uri="{FF2B5EF4-FFF2-40B4-BE49-F238E27FC236}">
                <a16:creationId xmlns:a16="http://schemas.microsoft.com/office/drawing/2014/main" id="{1C5C6B17-2F19-4561-8949-CC4E0B574E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10354" y="1882841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JUST ASK</a:t>
            </a: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76" name="Rectangle 10">
            <a:extLst>
              <a:ext uri="{FF2B5EF4-FFF2-40B4-BE49-F238E27FC236}">
                <a16:creationId xmlns:a16="http://schemas.microsoft.com/office/drawing/2014/main" id="{AA94E2D5-76B0-4EBB-AC21-C2DE4A83D4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71846" y="1882841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I SAY</a:t>
            </a: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77" name="Rectangle 10">
            <a:extLst>
              <a:ext uri="{FF2B5EF4-FFF2-40B4-BE49-F238E27FC236}">
                <a16:creationId xmlns:a16="http://schemas.microsoft.com/office/drawing/2014/main" id="{F88867E3-CDE2-4C0E-9073-4EA656B0D6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34342" y="1882841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MUST SEE MUST DO</a:t>
            </a: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78" name="Rectangle 10">
            <a:extLst>
              <a:ext uri="{FF2B5EF4-FFF2-40B4-BE49-F238E27FC236}">
                <a16:creationId xmlns:a16="http://schemas.microsoft.com/office/drawing/2014/main" id="{33F4A7C7-02FB-4CC4-9271-D2D0185CA0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06221" y="1882841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COUNSELLING</a:t>
            </a:r>
          </a:p>
        </p:txBody>
      </p:sp>
      <p:sp>
        <p:nvSpPr>
          <p:cNvPr id="88" name="Rectangle 10">
            <a:extLst>
              <a:ext uri="{FF2B5EF4-FFF2-40B4-BE49-F238E27FC236}">
                <a16:creationId xmlns:a16="http://schemas.microsoft.com/office/drawing/2014/main" id="{8F6C53CE-DF18-42FA-BF32-D8D4FC93A1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740" y="2380623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BOOKMARK</a:t>
            </a:r>
          </a:p>
        </p:txBody>
      </p:sp>
      <p:sp>
        <p:nvSpPr>
          <p:cNvPr id="100" name="Rectangle 10">
            <a:extLst>
              <a:ext uri="{FF2B5EF4-FFF2-40B4-BE49-F238E27FC236}">
                <a16:creationId xmlns:a16="http://schemas.microsoft.com/office/drawing/2014/main" id="{2CA4C070-41BA-44A0-894F-8E91612298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740" y="262676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PIC</a:t>
            </a:r>
          </a:p>
        </p:txBody>
      </p:sp>
      <p:sp>
        <p:nvSpPr>
          <p:cNvPr id="101" name="Rectangle 10">
            <a:extLst>
              <a:ext uri="{FF2B5EF4-FFF2-40B4-BE49-F238E27FC236}">
                <a16:creationId xmlns:a16="http://schemas.microsoft.com/office/drawing/2014/main" id="{2EBAEE27-C902-4DE9-BCE3-EFDFE0E5B3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4826" y="262676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WHO AM I</a:t>
            </a:r>
          </a:p>
        </p:txBody>
      </p:sp>
      <p:sp>
        <p:nvSpPr>
          <p:cNvPr id="102" name="Rectangle 10">
            <a:extLst>
              <a:ext uri="{FF2B5EF4-FFF2-40B4-BE49-F238E27FC236}">
                <a16:creationId xmlns:a16="http://schemas.microsoft.com/office/drawing/2014/main" id="{E0AD27E5-E0D0-4151-B354-6652C3B728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10354" y="262421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HOLY TRAIL</a:t>
            </a:r>
          </a:p>
        </p:txBody>
      </p:sp>
      <p:sp>
        <p:nvSpPr>
          <p:cNvPr id="103" name="Rectangle 10">
            <a:extLst>
              <a:ext uri="{FF2B5EF4-FFF2-40B4-BE49-F238E27FC236}">
                <a16:creationId xmlns:a16="http://schemas.microsoft.com/office/drawing/2014/main" id="{C57A3267-E311-4AEF-A7B9-5D8C145B12C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71846" y="262421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WISE WORDS</a:t>
            </a:r>
          </a:p>
        </p:txBody>
      </p:sp>
      <p:sp>
        <p:nvSpPr>
          <p:cNvPr id="106" name="Rectangle 10">
            <a:extLst>
              <a:ext uri="{FF2B5EF4-FFF2-40B4-BE49-F238E27FC236}">
                <a16:creationId xmlns:a16="http://schemas.microsoft.com/office/drawing/2014/main" id="{69F8CC1C-E333-44BE-AD06-D214D4BFC8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740" y="2871741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TIQUETTE</a:t>
            </a:r>
          </a:p>
        </p:txBody>
      </p:sp>
      <p:sp>
        <p:nvSpPr>
          <p:cNvPr id="107" name="Rectangle 10">
            <a:extLst>
              <a:ext uri="{FF2B5EF4-FFF2-40B4-BE49-F238E27FC236}">
                <a16:creationId xmlns:a16="http://schemas.microsoft.com/office/drawing/2014/main" id="{DFBDA0F8-48CB-474F-8116-AEC047EAEB4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4826" y="2871741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MOCK PAPERS</a:t>
            </a:r>
          </a:p>
        </p:txBody>
      </p:sp>
      <p:sp>
        <p:nvSpPr>
          <p:cNvPr id="108" name="Rectangle 10">
            <a:extLst>
              <a:ext uri="{FF2B5EF4-FFF2-40B4-BE49-F238E27FC236}">
                <a16:creationId xmlns:a16="http://schemas.microsoft.com/office/drawing/2014/main" id="{5B22A80F-5BA3-4174-A0B0-0EA3C6158F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10354" y="2869191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IPS &amp; TRICKS</a:t>
            </a:r>
          </a:p>
        </p:txBody>
      </p:sp>
      <p:sp>
        <p:nvSpPr>
          <p:cNvPr id="112" name="Rectangle 10">
            <a:extLst>
              <a:ext uri="{FF2B5EF4-FFF2-40B4-BE49-F238E27FC236}">
                <a16:creationId xmlns:a16="http://schemas.microsoft.com/office/drawing/2014/main" id="{02DF6D80-2CF9-4940-A43F-FBDF1CA607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740" y="3124226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COOK IT UP</a:t>
            </a:r>
          </a:p>
        </p:txBody>
      </p:sp>
      <p:sp>
        <p:nvSpPr>
          <p:cNvPr id="113" name="Rectangle 10">
            <a:extLst>
              <a:ext uri="{FF2B5EF4-FFF2-40B4-BE49-F238E27FC236}">
                <a16:creationId xmlns:a16="http://schemas.microsoft.com/office/drawing/2014/main" id="{B558D3DD-02DE-40B7-932B-ABBC3936E9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4826" y="3124226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POST CARD</a:t>
            </a:r>
          </a:p>
        </p:txBody>
      </p:sp>
      <p:sp>
        <p:nvSpPr>
          <p:cNvPr id="114" name="Rectangle 10">
            <a:extLst>
              <a:ext uri="{FF2B5EF4-FFF2-40B4-BE49-F238E27FC236}">
                <a16:creationId xmlns:a16="http://schemas.microsoft.com/office/drawing/2014/main" id="{F10D62DB-ED65-4EA3-A806-BA5180B5FD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10354" y="3121676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PUMP IT UP</a:t>
            </a:r>
          </a:p>
        </p:txBody>
      </p:sp>
      <p:sp>
        <p:nvSpPr>
          <p:cNvPr id="115" name="Rectangle 10">
            <a:extLst>
              <a:ext uri="{FF2B5EF4-FFF2-40B4-BE49-F238E27FC236}">
                <a16:creationId xmlns:a16="http://schemas.microsoft.com/office/drawing/2014/main" id="{F8AD9250-DA65-4B3F-BCCF-B21E97AD6BE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71846" y="3121676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HANGER</a:t>
            </a:r>
          </a:p>
        </p:txBody>
      </p:sp>
      <p:sp>
        <p:nvSpPr>
          <p:cNvPr id="116" name="Rectangle 10">
            <a:extLst>
              <a:ext uri="{FF2B5EF4-FFF2-40B4-BE49-F238E27FC236}">
                <a16:creationId xmlns:a16="http://schemas.microsoft.com/office/drawing/2014/main" id="{0A65BCD9-6D7A-4586-89AE-CEB857B4470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34342" y="3121676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PETS</a:t>
            </a:r>
          </a:p>
        </p:txBody>
      </p:sp>
      <p:sp>
        <p:nvSpPr>
          <p:cNvPr id="117" name="Rectangle 10">
            <a:extLst>
              <a:ext uri="{FF2B5EF4-FFF2-40B4-BE49-F238E27FC236}">
                <a16:creationId xmlns:a16="http://schemas.microsoft.com/office/drawing/2014/main" id="{F1202C19-4CA6-4A2F-84D3-131428842F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06221" y="3121676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RELATIONSHIP</a:t>
            </a:r>
          </a:p>
        </p:txBody>
      </p:sp>
      <p:sp>
        <p:nvSpPr>
          <p:cNvPr id="124" name="Rectangle 10">
            <a:extLst>
              <a:ext uri="{FF2B5EF4-FFF2-40B4-BE49-F238E27FC236}">
                <a16:creationId xmlns:a16="http://schemas.microsoft.com/office/drawing/2014/main" id="{BDBC87B7-5D1A-4737-9EA9-D7BE87916D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740" y="361670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APPS</a:t>
            </a:r>
          </a:p>
        </p:txBody>
      </p:sp>
      <p:sp>
        <p:nvSpPr>
          <p:cNvPr id="125" name="Rectangle 10">
            <a:extLst>
              <a:ext uri="{FF2B5EF4-FFF2-40B4-BE49-F238E27FC236}">
                <a16:creationId xmlns:a16="http://schemas.microsoft.com/office/drawing/2014/main" id="{9A3C9D4C-3135-4613-A553-8CF265E9CD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4826" y="361670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FEATURED</a:t>
            </a:r>
          </a:p>
        </p:txBody>
      </p:sp>
      <p:sp>
        <p:nvSpPr>
          <p:cNvPr id="126" name="Rectangle 10">
            <a:extLst>
              <a:ext uri="{FF2B5EF4-FFF2-40B4-BE49-F238E27FC236}">
                <a16:creationId xmlns:a16="http://schemas.microsoft.com/office/drawing/2014/main" id="{310959CB-C69D-40AB-996C-AD946C1745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10354" y="361415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GADGETS</a:t>
            </a:r>
          </a:p>
        </p:txBody>
      </p:sp>
      <p:sp>
        <p:nvSpPr>
          <p:cNvPr id="127" name="Rectangle 10">
            <a:extLst>
              <a:ext uri="{FF2B5EF4-FFF2-40B4-BE49-F238E27FC236}">
                <a16:creationId xmlns:a16="http://schemas.microsoft.com/office/drawing/2014/main" id="{8FFFDB83-0780-4D43-8654-CA4B850A6D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71846" y="361415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GAMING</a:t>
            </a:r>
          </a:p>
        </p:txBody>
      </p:sp>
      <p:sp>
        <p:nvSpPr>
          <p:cNvPr id="128" name="Rectangle 10">
            <a:extLst>
              <a:ext uri="{FF2B5EF4-FFF2-40B4-BE49-F238E27FC236}">
                <a16:creationId xmlns:a16="http://schemas.microsoft.com/office/drawing/2014/main" id="{0493A13D-5982-49BD-A52E-659747CD872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34342" y="361415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PACE</a:t>
            </a:r>
          </a:p>
        </p:txBody>
      </p:sp>
      <p:sp>
        <p:nvSpPr>
          <p:cNvPr id="129" name="Rectangle 10">
            <a:extLst>
              <a:ext uri="{FF2B5EF4-FFF2-40B4-BE49-F238E27FC236}">
                <a16:creationId xmlns:a16="http://schemas.microsoft.com/office/drawing/2014/main" id="{00363022-2546-4E95-A6DA-852EC898C1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06221" y="3614150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NVIRONMENT</a:t>
            </a:r>
          </a:p>
        </p:txBody>
      </p:sp>
      <p:sp>
        <p:nvSpPr>
          <p:cNvPr id="130" name="Rectangle 10">
            <a:extLst>
              <a:ext uri="{FF2B5EF4-FFF2-40B4-BE49-F238E27FC236}">
                <a16:creationId xmlns:a16="http://schemas.microsoft.com/office/drawing/2014/main" id="{77733604-B47F-4786-A1A9-B29581A81A9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740" y="3867072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GAMES</a:t>
            </a:r>
          </a:p>
        </p:txBody>
      </p:sp>
      <p:sp>
        <p:nvSpPr>
          <p:cNvPr id="131" name="Rectangle 10">
            <a:extLst>
              <a:ext uri="{FF2B5EF4-FFF2-40B4-BE49-F238E27FC236}">
                <a16:creationId xmlns:a16="http://schemas.microsoft.com/office/drawing/2014/main" id="{4B4CC870-AED8-4357-A7C8-48AC71CF89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4826" y="3867072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QUIZ</a:t>
            </a:r>
          </a:p>
        </p:txBody>
      </p:sp>
      <p:sp>
        <p:nvSpPr>
          <p:cNvPr id="132" name="Rectangle 10">
            <a:extLst>
              <a:ext uri="{FF2B5EF4-FFF2-40B4-BE49-F238E27FC236}">
                <a16:creationId xmlns:a16="http://schemas.microsoft.com/office/drawing/2014/main" id="{B837ACA2-5621-424C-AF32-90FB53381C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10354" y="3864522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ODUKU</a:t>
            </a:r>
          </a:p>
        </p:txBody>
      </p:sp>
      <p:sp>
        <p:nvSpPr>
          <p:cNvPr id="133" name="Rectangle 10">
            <a:extLst>
              <a:ext uri="{FF2B5EF4-FFF2-40B4-BE49-F238E27FC236}">
                <a16:creationId xmlns:a16="http://schemas.microsoft.com/office/drawing/2014/main" id="{CF5BFAE2-ED10-4A12-B7B7-1FD557CB4E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71846" y="3864522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PUZZLES</a:t>
            </a:r>
          </a:p>
        </p:txBody>
      </p:sp>
      <p:sp>
        <p:nvSpPr>
          <p:cNvPr id="134" name="Rectangle 10">
            <a:extLst>
              <a:ext uri="{FF2B5EF4-FFF2-40B4-BE49-F238E27FC236}">
                <a16:creationId xmlns:a16="http://schemas.microsoft.com/office/drawing/2014/main" id="{51FE07C6-D8FB-4091-A0BF-329FBCC163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34342" y="3864522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POWER GRAMMER</a:t>
            </a:r>
          </a:p>
        </p:txBody>
      </p:sp>
      <p:sp>
        <p:nvSpPr>
          <p:cNvPr id="135" name="Rectangle 10">
            <a:extLst>
              <a:ext uri="{FF2B5EF4-FFF2-40B4-BE49-F238E27FC236}">
                <a16:creationId xmlns:a16="http://schemas.microsoft.com/office/drawing/2014/main" id="{416FABBE-D2C4-417B-98F8-0325C9F4EF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06221" y="3864522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JOKES</a:t>
            </a:r>
          </a:p>
        </p:txBody>
      </p:sp>
      <p:sp>
        <p:nvSpPr>
          <p:cNvPr id="142" name="Rectangle 10">
            <a:extLst>
              <a:ext uri="{FF2B5EF4-FFF2-40B4-BE49-F238E27FC236}">
                <a16:creationId xmlns:a16="http://schemas.microsoft.com/office/drawing/2014/main" id="{69C5024E-C3F4-4EE4-A9FF-1533776689B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0740" y="4357135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CHOOL IS COOL</a:t>
            </a:r>
          </a:p>
        </p:txBody>
      </p:sp>
      <p:sp>
        <p:nvSpPr>
          <p:cNvPr id="143" name="Rectangle 10">
            <a:extLst>
              <a:ext uri="{FF2B5EF4-FFF2-40B4-BE49-F238E27FC236}">
                <a16:creationId xmlns:a16="http://schemas.microsoft.com/office/drawing/2014/main" id="{E8B483A7-8B17-4D28-AAB8-20A1D1F656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4826" y="4357135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BEST OF PRINT</a:t>
            </a:r>
          </a:p>
        </p:txBody>
      </p:sp>
      <p:sp>
        <p:nvSpPr>
          <p:cNvPr id="144" name="Rectangle 10">
            <a:extLst>
              <a:ext uri="{FF2B5EF4-FFF2-40B4-BE49-F238E27FC236}">
                <a16:creationId xmlns:a16="http://schemas.microsoft.com/office/drawing/2014/main" id="{CC5A8E3D-2283-4BD7-8EBE-33D1910E91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10354" y="4354585"/>
            <a:ext cx="100584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CHOOL DIRECTORY</a:t>
            </a:r>
          </a:p>
        </p:txBody>
      </p:sp>
      <p:sp>
        <p:nvSpPr>
          <p:cNvPr id="71" name="Rectangle 29">
            <a:extLst>
              <a:ext uri="{FF2B5EF4-FFF2-40B4-BE49-F238E27FC236}">
                <a16:creationId xmlns:a16="http://schemas.microsoft.com/office/drawing/2014/main" id="{F863175E-0E50-45C7-B15E-87C8A582C8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05565" y="1098376"/>
            <a:ext cx="1097281" cy="365759"/>
          </a:xfrm>
          <a:prstGeom prst="rect">
            <a:avLst/>
          </a:prstGeom>
          <a:solidFill>
            <a:srgbClr val="FFFF00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kern="0" dirty="0">
                <a:latin typeface="Calibri"/>
                <a:cs typeface="Calibri" pitchFamily="34" charset="0"/>
              </a:rPr>
              <a:t>As Is</a:t>
            </a:r>
            <a:endParaRPr kumimoji="0" lang="en-GB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 pitchFamily="34" charset="0"/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" name="Slide Zoom 5">
                <a:extLst>
                  <a:ext uri="{FF2B5EF4-FFF2-40B4-BE49-F238E27FC236}">
                    <a16:creationId xmlns:a16="http://schemas.microsoft.com/office/drawing/2014/main" id="{BEBAB283-DFE8-484D-8F7E-CBBB4A0A6D2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413458617"/>
                  </p:ext>
                </p:extLst>
              </p:nvPr>
            </p:nvGraphicFramePr>
            <p:xfrm>
              <a:off x="2389515" y="5411180"/>
              <a:ext cx="1254763" cy="868680"/>
            </p:xfrm>
            <a:graphic>
              <a:graphicData uri="http://schemas.microsoft.com/office/powerpoint/2016/slidezoom">
                <pslz:sldZm>
                  <pslz:sldZmObj sldId="946" cId="320375622">
                    <pslz:zmPr id="{2B3F92BA-1CCC-4C3D-9280-BFBE99590540}" returnToParent="0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54763" cy="86868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" name="Slide Zoom 5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BEBAB283-DFE8-484D-8F7E-CBBB4A0A6D2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389515" y="5411180"/>
                <a:ext cx="1254763" cy="86868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79" name="Arrow: Striped Right 78">
            <a:extLst>
              <a:ext uri="{FF2B5EF4-FFF2-40B4-BE49-F238E27FC236}">
                <a16:creationId xmlns:a16="http://schemas.microsoft.com/office/drawing/2014/main" id="{E2FF57E2-B766-4948-A11C-1C4BB25F65B2}"/>
              </a:ext>
            </a:extLst>
          </p:cNvPr>
          <p:cNvSpPr/>
          <p:nvPr/>
        </p:nvSpPr>
        <p:spPr bwMode="auto">
          <a:xfrm>
            <a:off x="3755925" y="5750270"/>
            <a:ext cx="428625" cy="361950"/>
          </a:xfrm>
          <a:prstGeom prst="stripedRightArrow">
            <a:avLst>
              <a:gd name="adj1" fmla="val 61712"/>
              <a:gd name="adj2" fmla="val 50000"/>
            </a:avLst>
          </a:prstGeom>
          <a:solidFill>
            <a:schemeClr val="accent6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8" name="Slide Zoom 7">
                <a:extLst>
                  <a:ext uri="{FF2B5EF4-FFF2-40B4-BE49-F238E27FC236}">
                    <a16:creationId xmlns:a16="http://schemas.microsoft.com/office/drawing/2014/main" id="{8438BAB4-097A-4ED4-809D-038367B4377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97276887"/>
                  </p:ext>
                </p:extLst>
              </p:nvPr>
            </p:nvGraphicFramePr>
            <p:xfrm>
              <a:off x="4296197" y="5411180"/>
              <a:ext cx="1254762" cy="868680"/>
            </p:xfrm>
            <a:graphic>
              <a:graphicData uri="http://schemas.microsoft.com/office/powerpoint/2016/slidezoom">
                <pslz:sldZm>
                  <pslz:sldZmObj sldId="947" cId="3705764701">
                    <pslz:zmPr id="{3E5ED5B3-56C1-496E-9371-5CED3C076E57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54762" cy="86868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8" name="Slide Zoom 7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8438BAB4-097A-4ED4-809D-038367B4377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296197" y="5411180"/>
                <a:ext cx="1254762" cy="86868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0" name="Slide Zoom 9">
                <a:extLst>
                  <a:ext uri="{FF2B5EF4-FFF2-40B4-BE49-F238E27FC236}">
                    <a16:creationId xmlns:a16="http://schemas.microsoft.com/office/drawing/2014/main" id="{FF909E30-F19B-498E-8F7B-2F038974333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95619890"/>
                  </p:ext>
                </p:extLst>
              </p:nvPr>
            </p:nvGraphicFramePr>
            <p:xfrm>
              <a:off x="5667966" y="5411180"/>
              <a:ext cx="1254763" cy="868680"/>
            </p:xfrm>
            <a:graphic>
              <a:graphicData uri="http://schemas.microsoft.com/office/powerpoint/2016/slidezoom">
                <pslz:sldZm>
                  <pslz:sldZmObj sldId="948" cId="513566493">
                    <pslz:zmPr id="{E16E0AFE-1C02-4CA4-915A-3367B09AF5BB}" returnToParent="0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54763" cy="86868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0" name="Slide Zoom 9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FF909E30-F19B-498E-8F7B-2F038974333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667966" y="5411180"/>
                <a:ext cx="1254763" cy="86868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2" name="Slide Zoom 11">
                <a:extLst>
                  <a:ext uri="{FF2B5EF4-FFF2-40B4-BE49-F238E27FC236}">
                    <a16:creationId xmlns:a16="http://schemas.microsoft.com/office/drawing/2014/main" id="{961F8E1B-406D-424E-9A6A-CE640DFEF98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20937599"/>
                  </p:ext>
                </p:extLst>
              </p:nvPr>
            </p:nvGraphicFramePr>
            <p:xfrm>
              <a:off x="7039736" y="5411180"/>
              <a:ext cx="1254763" cy="868680"/>
            </p:xfrm>
            <a:graphic>
              <a:graphicData uri="http://schemas.microsoft.com/office/powerpoint/2016/slidezoom">
                <pslz:sldZm>
                  <pslz:sldZmObj sldId="949" cId="707254573">
                    <pslz:zmPr id="{8957B741-E390-406F-8620-F581B2AA17F8}" returnToParent="0" transitionDur="1000">
                      <p166:blipFill xmlns:p166="http://schemas.microsoft.com/office/powerpoint/2016/6/main">
                        <a:blip r:embed="rId1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54763" cy="86868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2" name="Slide Zoom 11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961F8E1B-406D-424E-9A6A-CE640DFEF9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7039736" y="5411180"/>
                <a:ext cx="1254763" cy="86868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4" name="Slide Zoom 13">
                <a:extLst>
                  <a:ext uri="{FF2B5EF4-FFF2-40B4-BE49-F238E27FC236}">
                    <a16:creationId xmlns:a16="http://schemas.microsoft.com/office/drawing/2014/main" id="{BB3C5892-0675-4FBE-9809-DA8F597692F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32703518"/>
                  </p:ext>
                </p:extLst>
              </p:nvPr>
            </p:nvGraphicFramePr>
            <p:xfrm>
              <a:off x="8411506" y="5411180"/>
              <a:ext cx="1254763" cy="868680"/>
            </p:xfrm>
            <a:graphic>
              <a:graphicData uri="http://schemas.microsoft.com/office/powerpoint/2016/slidezoom">
                <pslz:sldZm>
                  <pslz:sldZmObj sldId="950" cId="4028055974">
                    <pslz:zmPr id="{7E705CBA-E44C-4A78-BE7B-8A9E7879C7F3}" returnToParent="0" transitionDur="1000">
                      <p166:blipFill xmlns:p166="http://schemas.microsoft.com/office/powerpoint/2016/6/main">
                        <a:blip r:embed="rId1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54763" cy="86868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4" name="Slide Zoom 13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BB3C5892-0675-4FBE-9809-DA8F597692F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8411506" y="5411180"/>
                <a:ext cx="1254763" cy="86868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86" name="TextBox 85">
            <a:extLst>
              <a:ext uri="{FF2B5EF4-FFF2-40B4-BE49-F238E27FC236}">
                <a16:creationId xmlns:a16="http://schemas.microsoft.com/office/drawing/2014/main" id="{23F92FA6-1267-41EB-AAEC-60FB0CF13787}"/>
              </a:ext>
            </a:extLst>
          </p:cNvPr>
          <p:cNvSpPr txBox="1"/>
          <p:nvPr/>
        </p:nvSpPr>
        <p:spPr bwMode="auto">
          <a:xfrm>
            <a:off x="-15690" y="5013220"/>
            <a:ext cx="990599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The categories need to b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ationalized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B10034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using the proposed value propositions</a:t>
            </a:r>
          </a:p>
        </p:txBody>
      </p:sp>
    </p:spTree>
    <p:extLst>
      <p:ext uri="{BB962C8B-B14F-4D97-AF65-F5344CB8AC3E}">
        <p14:creationId xmlns:p14="http://schemas.microsoft.com/office/powerpoint/2010/main" val="403278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  <p:bldP spid="84" grpId="0"/>
      <p:bldP spid="79" grpId="0" animBg="1"/>
      <p:bldP spid="8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A3673-FBA4-45EF-B6B5-664BF9515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he proposed model includes fewer </a:t>
            </a:r>
            <a:r>
              <a:rPr lang="en-US" b="1" u="sng" dirty="0">
                <a:solidFill>
                  <a:srgbClr val="FFFFFF"/>
                </a:solidFill>
              </a:rPr>
              <a:t>CATEGORIES</a:t>
            </a:r>
            <a:r>
              <a:rPr lang="en-US" dirty="0">
                <a:solidFill>
                  <a:srgbClr val="FFFFFF"/>
                </a:solidFill>
              </a:rPr>
              <a:t> identified based on multiple internal discussion and voice of customer survey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F6BE9A-752D-46BF-97F8-F31ABA5728EC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6609230" y="6511569"/>
            <a:ext cx="3207970" cy="201600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7 Capgemini. All rights reserved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E50C0-B3B1-47D3-9F40-AA78D2A0323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CE626-3159-4274-8158-4292551456C4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85888B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85888B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41" name="Rectangle 29">
            <a:extLst>
              <a:ext uri="{FF2B5EF4-FFF2-40B4-BE49-F238E27FC236}">
                <a16:creationId xmlns:a16="http://schemas.microsoft.com/office/drawing/2014/main" id="{B87EBE82-FA2C-4AAC-BCAC-E7D71B4771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9187" y="1196690"/>
            <a:ext cx="1645920" cy="3657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OI STUDENT</a:t>
            </a:r>
          </a:p>
        </p:txBody>
      </p:sp>
      <p:sp>
        <p:nvSpPr>
          <p:cNvPr id="145" name="Rectangle 10">
            <a:extLst>
              <a:ext uri="{FF2B5EF4-FFF2-40B4-BE49-F238E27FC236}">
                <a16:creationId xmlns:a16="http://schemas.microsoft.com/office/drawing/2014/main" id="{11FBBA99-A476-4E34-8309-99E988B7D75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6793" y="3208610"/>
            <a:ext cx="1463040" cy="411480"/>
          </a:xfrm>
          <a:prstGeom prst="rect">
            <a:avLst/>
          </a:prstGeom>
          <a:solidFill>
            <a:srgbClr val="82004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ECHNOLOGY</a:t>
            </a:r>
          </a:p>
        </p:txBody>
      </p:sp>
      <p:sp>
        <p:nvSpPr>
          <p:cNvPr id="146" name="Rectangle 11">
            <a:extLst>
              <a:ext uri="{FF2B5EF4-FFF2-40B4-BE49-F238E27FC236}">
                <a16:creationId xmlns:a16="http://schemas.microsoft.com/office/drawing/2014/main" id="{9A8C28B7-C607-498A-8F64-842296FDE0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96925" y="3208610"/>
            <a:ext cx="1463040" cy="411480"/>
          </a:xfrm>
          <a:prstGeom prst="rect">
            <a:avLst/>
          </a:prstGeom>
          <a:solidFill>
            <a:srgbClr val="82004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ELF DEVELOPMENT</a:t>
            </a:r>
          </a:p>
        </p:txBody>
      </p:sp>
      <p:cxnSp>
        <p:nvCxnSpPr>
          <p:cNvPr id="147" name="Shape 80">
            <a:extLst>
              <a:ext uri="{FF2B5EF4-FFF2-40B4-BE49-F238E27FC236}">
                <a16:creationId xmlns:a16="http://schemas.microsoft.com/office/drawing/2014/main" id="{79263F56-58EE-4239-A03C-B51469EF7DBD}"/>
              </a:ext>
            </a:extLst>
          </p:cNvPr>
          <p:cNvCxnSpPr>
            <a:cxnSpLocks/>
            <a:stCxn id="145" idx="1"/>
            <a:endCxn id="141" idx="2"/>
          </p:cNvCxnSpPr>
          <p:nvPr/>
        </p:nvCxnSpPr>
        <p:spPr>
          <a:xfrm rot="10800000">
            <a:off x="1382147" y="1562450"/>
            <a:ext cx="254646" cy="1851900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sp>
        <p:nvSpPr>
          <p:cNvPr id="148" name="Rectangle 11">
            <a:extLst>
              <a:ext uri="{FF2B5EF4-FFF2-40B4-BE49-F238E27FC236}">
                <a16:creationId xmlns:a16="http://schemas.microsoft.com/office/drawing/2014/main" id="{859C29E4-D65E-427D-9955-5E14D459F9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0540" y="4216695"/>
            <a:ext cx="1463040" cy="41148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ECHNOLOGY</a:t>
            </a:r>
          </a:p>
        </p:txBody>
      </p:sp>
      <p:cxnSp>
        <p:nvCxnSpPr>
          <p:cNvPr id="149" name="Shape 82">
            <a:extLst>
              <a:ext uri="{FF2B5EF4-FFF2-40B4-BE49-F238E27FC236}">
                <a16:creationId xmlns:a16="http://schemas.microsoft.com/office/drawing/2014/main" id="{E2DF77FE-12B3-4964-93ED-1903857D6E49}"/>
              </a:ext>
            </a:extLst>
          </p:cNvPr>
          <p:cNvCxnSpPr>
            <a:cxnSpLocks/>
            <a:stCxn id="151" idx="1"/>
            <a:endCxn id="141" idx="2"/>
          </p:cNvCxnSpPr>
          <p:nvPr/>
        </p:nvCxnSpPr>
        <p:spPr>
          <a:xfrm rot="10800000">
            <a:off x="1382148" y="1562451"/>
            <a:ext cx="258393" cy="3316945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sp>
        <p:nvSpPr>
          <p:cNvPr id="150" name="Rectangle 11">
            <a:extLst>
              <a:ext uri="{FF2B5EF4-FFF2-40B4-BE49-F238E27FC236}">
                <a16:creationId xmlns:a16="http://schemas.microsoft.com/office/drawing/2014/main" id="{71EA2373-2FAB-4C1C-BC4C-A1B8E7FEB6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98071" y="4216695"/>
            <a:ext cx="1463040" cy="41148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ELF DEVELOPMENT</a:t>
            </a:r>
          </a:p>
        </p:txBody>
      </p:sp>
      <p:sp>
        <p:nvSpPr>
          <p:cNvPr id="151" name="Rectangle 11">
            <a:extLst>
              <a:ext uri="{FF2B5EF4-FFF2-40B4-BE49-F238E27FC236}">
                <a16:creationId xmlns:a16="http://schemas.microsoft.com/office/drawing/2014/main" id="{6B53B80A-E349-49F6-A156-C54419C877B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0540" y="4673655"/>
            <a:ext cx="1463040" cy="41148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CIENCE</a:t>
            </a:r>
          </a:p>
        </p:txBody>
      </p:sp>
      <p:sp>
        <p:nvSpPr>
          <p:cNvPr id="152" name="Rectangle 13">
            <a:extLst>
              <a:ext uri="{FF2B5EF4-FFF2-40B4-BE49-F238E27FC236}">
                <a16:creationId xmlns:a16="http://schemas.microsoft.com/office/drawing/2014/main" id="{B82DA8F2-88A1-439D-BC82-6F5DFB41AF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98071" y="3653873"/>
            <a:ext cx="1463040" cy="411480"/>
          </a:xfrm>
          <a:prstGeom prst="rect">
            <a:avLst/>
          </a:prstGeom>
          <a:solidFill>
            <a:srgbClr val="82004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LIFESTYLE</a:t>
            </a:r>
          </a:p>
        </p:txBody>
      </p:sp>
      <p:sp>
        <p:nvSpPr>
          <p:cNvPr id="156" name="Rectangle 13">
            <a:extLst>
              <a:ext uri="{FF2B5EF4-FFF2-40B4-BE49-F238E27FC236}">
                <a16:creationId xmlns:a16="http://schemas.microsoft.com/office/drawing/2014/main" id="{A46063AF-22F2-4CA8-97F8-E21F21D2AC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9337" y="3658107"/>
            <a:ext cx="1463040" cy="411480"/>
          </a:xfrm>
          <a:prstGeom prst="rect">
            <a:avLst/>
          </a:prstGeom>
          <a:solidFill>
            <a:srgbClr val="82004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CIENCE</a:t>
            </a:r>
          </a:p>
        </p:txBody>
      </p:sp>
      <p:cxnSp>
        <p:nvCxnSpPr>
          <p:cNvPr id="157" name="Shape 86">
            <a:extLst>
              <a:ext uri="{FF2B5EF4-FFF2-40B4-BE49-F238E27FC236}">
                <a16:creationId xmlns:a16="http://schemas.microsoft.com/office/drawing/2014/main" id="{9F61A22E-7839-4CEE-8E57-8C6B41A440FE}"/>
              </a:ext>
            </a:extLst>
          </p:cNvPr>
          <p:cNvCxnSpPr>
            <a:cxnSpLocks/>
            <a:stCxn id="156" idx="1"/>
            <a:endCxn id="141" idx="2"/>
          </p:cNvCxnSpPr>
          <p:nvPr/>
        </p:nvCxnSpPr>
        <p:spPr>
          <a:xfrm rot="10800000">
            <a:off x="1382147" y="1562451"/>
            <a:ext cx="257190" cy="2301397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sp>
        <p:nvSpPr>
          <p:cNvPr id="158" name="Rectangle 29">
            <a:extLst>
              <a:ext uri="{FF2B5EF4-FFF2-40B4-BE49-F238E27FC236}">
                <a16:creationId xmlns:a16="http://schemas.microsoft.com/office/drawing/2014/main" id="{5155B7EC-9444-4F10-9934-0DB899D4B0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05107" y="1196690"/>
            <a:ext cx="2622923" cy="35772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(Phase 1)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60" name="Rectangle 13">
            <a:extLst>
              <a:ext uri="{FF2B5EF4-FFF2-40B4-BE49-F238E27FC236}">
                <a16:creationId xmlns:a16="http://schemas.microsoft.com/office/drawing/2014/main" id="{F01775E5-892E-4E60-8950-8F34AAF998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0575" y="1744101"/>
            <a:ext cx="1463040" cy="41148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NEWS MAKERS</a:t>
            </a:r>
          </a:p>
        </p:txBody>
      </p:sp>
      <p:sp>
        <p:nvSpPr>
          <p:cNvPr id="161" name="Rectangle 13">
            <a:extLst>
              <a:ext uri="{FF2B5EF4-FFF2-40B4-BE49-F238E27FC236}">
                <a16:creationId xmlns:a16="http://schemas.microsoft.com/office/drawing/2014/main" id="{FD3A7241-8059-489E-B8A4-843284F96A4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4424" y="2200856"/>
            <a:ext cx="1463040" cy="41148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PORTS</a:t>
            </a:r>
          </a:p>
        </p:txBody>
      </p:sp>
      <p:sp>
        <p:nvSpPr>
          <p:cNvPr id="162" name="Rectangle 10">
            <a:extLst>
              <a:ext uri="{FF2B5EF4-FFF2-40B4-BE49-F238E27FC236}">
                <a16:creationId xmlns:a16="http://schemas.microsoft.com/office/drawing/2014/main" id="{4E2B4F36-EF25-4B20-AEBF-496849A9EE5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3986" y="2644066"/>
            <a:ext cx="1463040" cy="41148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AUTO</a:t>
            </a:r>
          </a:p>
        </p:txBody>
      </p:sp>
      <p:sp>
        <p:nvSpPr>
          <p:cNvPr id="163" name="Rectangle 10">
            <a:extLst>
              <a:ext uri="{FF2B5EF4-FFF2-40B4-BE49-F238E27FC236}">
                <a16:creationId xmlns:a16="http://schemas.microsoft.com/office/drawing/2014/main" id="{A1128A34-F730-4A95-B180-EC353D7257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01920" y="2193332"/>
            <a:ext cx="1463040" cy="41148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8575">
            <a:noFill/>
            <a:prstDash val="solid"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ECHNOLOGY</a:t>
            </a:r>
          </a:p>
        </p:txBody>
      </p:sp>
      <p:sp>
        <p:nvSpPr>
          <p:cNvPr id="164" name="Rectangle 10">
            <a:extLst>
              <a:ext uri="{FF2B5EF4-FFF2-40B4-BE49-F238E27FC236}">
                <a16:creationId xmlns:a16="http://schemas.microsoft.com/office/drawing/2014/main" id="{4E1907E4-84A5-4A40-A325-A88685967DB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01920" y="2647520"/>
            <a:ext cx="1463040" cy="41148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8575">
            <a:noFill/>
            <a:prstDash val="solid"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CIENCE</a:t>
            </a:r>
          </a:p>
        </p:txBody>
      </p:sp>
      <p:cxnSp>
        <p:nvCxnSpPr>
          <p:cNvPr id="166" name="Shape 86">
            <a:extLst>
              <a:ext uri="{FF2B5EF4-FFF2-40B4-BE49-F238E27FC236}">
                <a16:creationId xmlns:a16="http://schemas.microsoft.com/office/drawing/2014/main" id="{9CD34D63-BD32-433B-9C7A-91A053979CBA}"/>
              </a:ext>
            </a:extLst>
          </p:cNvPr>
          <p:cNvCxnSpPr>
            <a:cxnSpLocks/>
            <a:stCxn id="160" idx="1"/>
            <a:endCxn id="141" idx="2"/>
          </p:cNvCxnSpPr>
          <p:nvPr/>
        </p:nvCxnSpPr>
        <p:spPr>
          <a:xfrm rot="10800000">
            <a:off x="1382147" y="1562451"/>
            <a:ext cx="258428" cy="387391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167" name="Shape 86">
            <a:extLst>
              <a:ext uri="{FF2B5EF4-FFF2-40B4-BE49-F238E27FC236}">
                <a16:creationId xmlns:a16="http://schemas.microsoft.com/office/drawing/2014/main" id="{43024083-5B64-496F-B8D9-2F6D03DF6950}"/>
              </a:ext>
            </a:extLst>
          </p:cNvPr>
          <p:cNvCxnSpPr>
            <a:cxnSpLocks/>
            <a:stCxn id="161" idx="1"/>
            <a:endCxn id="141" idx="2"/>
          </p:cNvCxnSpPr>
          <p:nvPr/>
        </p:nvCxnSpPr>
        <p:spPr>
          <a:xfrm rot="10800000">
            <a:off x="1382148" y="1562450"/>
            <a:ext cx="262277" cy="844146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cxnSp>
        <p:nvCxnSpPr>
          <p:cNvPr id="168" name="Shape 80">
            <a:extLst>
              <a:ext uri="{FF2B5EF4-FFF2-40B4-BE49-F238E27FC236}">
                <a16:creationId xmlns:a16="http://schemas.microsoft.com/office/drawing/2014/main" id="{A227DFAD-DF5F-44DF-BBFF-8752FD88BDF6}"/>
              </a:ext>
            </a:extLst>
          </p:cNvPr>
          <p:cNvCxnSpPr>
            <a:cxnSpLocks/>
            <a:stCxn id="162" idx="1"/>
            <a:endCxn id="141" idx="2"/>
          </p:cNvCxnSpPr>
          <p:nvPr/>
        </p:nvCxnSpPr>
        <p:spPr>
          <a:xfrm rot="10800000">
            <a:off x="1382148" y="1562450"/>
            <a:ext cx="261839" cy="1287356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sp>
        <p:nvSpPr>
          <p:cNvPr id="169" name="Rectangle 10">
            <a:extLst>
              <a:ext uri="{FF2B5EF4-FFF2-40B4-BE49-F238E27FC236}">
                <a16:creationId xmlns:a16="http://schemas.microsoft.com/office/drawing/2014/main" id="{64A80428-4CE1-4CD8-BF6D-6900FC4C7A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98510" y="1747538"/>
            <a:ext cx="1463040" cy="41148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8575">
            <a:noFill/>
            <a:prstDash val="solid"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NTERTAINMENT</a:t>
            </a:r>
          </a:p>
        </p:txBody>
      </p:sp>
      <p:cxnSp>
        <p:nvCxnSpPr>
          <p:cNvPr id="170" name="Shape 86">
            <a:extLst>
              <a:ext uri="{FF2B5EF4-FFF2-40B4-BE49-F238E27FC236}">
                <a16:creationId xmlns:a16="http://schemas.microsoft.com/office/drawing/2014/main" id="{646E1558-7FB4-439A-B47E-8A41751398F7}"/>
              </a:ext>
            </a:extLst>
          </p:cNvPr>
          <p:cNvCxnSpPr>
            <a:cxnSpLocks/>
            <a:stCxn id="148" idx="1"/>
          </p:cNvCxnSpPr>
          <p:nvPr/>
        </p:nvCxnSpPr>
        <p:spPr>
          <a:xfrm rot="10800000">
            <a:off x="1382718" y="1973989"/>
            <a:ext cx="257822" cy="2448446"/>
          </a:xfrm>
          <a:prstGeom prst="bentConnector2">
            <a:avLst/>
          </a:prstGeom>
          <a:noFill/>
          <a:ln w="9525" cap="flat" cmpd="sng" algn="ctr">
            <a:solidFill>
              <a:srgbClr val="85888B"/>
            </a:solidFill>
            <a:prstDash val="solid"/>
          </a:ln>
          <a:effectLst/>
        </p:spPr>
      </p:cxnSp>
      <p:sp>
        <p:nvSpPr>
          <p:cNvPr id="171" name="Rectangle 10">
            <a:extLst>
              <a:ext uri="{FF2B5EF4-FFF2-40B4-BE49-F238E27FC236}">
                <a16:creationId xmlns:a16="http://schemas.microsoft.com/office/drawing/2014/main" id="{F292E9FE-BFDA-488C-BF8D-B676C0EA9F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23889" y="2641681"/>
            <a:ext cx="2743200" cy="4521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000" tIns="45720" rIns="90000" bIns="0" anchor="ctr" anchorCtr="0"/>
          <a:lstStyle/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PACE | ENVIRONMENT</a:t>
            </a:r>
          </a:p>
        </p:txBody>
      </p:sp>
      <p:sp>
        <p:nvSpPr>
          <p:cNvPr id="172" name="Rectangle 10">
            <a:extLst>
              <a:ext uri="{FF2B5EF4-FFF2-40B4-BE49-F238E27FC236}">
                <a16:creationId xmlns:a16="http://schemas.microsoft.com/office/drawing/2014/main" id="{B7371BB0-F599-4A44-88DB-FEEC469951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26594" y="2175955"/>
            <a:ext cx="2743200" cy="4301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000" tIns="45720" rIns="90000" bIns="0" anchor="ctr" anchorCtr="0"/>
          <a:lstStyle/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APPS | GADGETS | GAMING</a:t>
            </a:r>
          </a:p>
        </p:txBody>
      </p:sp>
      <p:sp>
        <p:nvSpPr>
          <p:cNvPr id="173" name="Rectangle 10">
            <a:extLst>
              <a:ext uri="{FF2B5EF4-FFF2-40B4-BE49-F238E27FC236}">
                <a16:creationId xmlns:a16="http://schemas.microsoft.com/office/drawing/2014/main" id="{C8C4C7FD-1DBA-4704-9B6C-863C470D2C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23889" y="3645030"/>
            <a:ext cx="2743200" cy="44308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000" tIns="45720" rIns="90000" bIns="0" anchor="ctr" anchorCtr="0"/>
          <a:lstStyle/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TIQUETTE | BOOKS | TIPS &amp; TRICKS</a:t>
            </a:r>
          </a:p>
        </p:txBody>
      </p:sp>
      <p:sp>
        <p:nvSpPr>
          <p:cNvPr id="174" name="Rectangle 10">
            <a:extLst>
              <a:ext uri="{FF2B5EF4-FFF2-40B4-BE49-F238E27FC236}">
                <a16:creationId xmlns:a16="http://schemas.microsoft.com/office/drawing/2014/main" id="{CB75A820-A463-476D-89F1-12C49DD5A0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23889" y="3212970"/>
            <a:ext cx="2448340" cy="3575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000" tIns="45720" rIns="90000" bIns="0" anchor="ctr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HEALTH | FASHION | COOKING | RELATIONSHIP | TRAVEL</a:t>
            </a:r>
          </a:p>
        </p:txBody>
      </p:sp>
      <p:sp>
        <p:nvSpPr>
          <p:cNvPr id="175" name="Rectangle 10">
            <a:extLst>
              <a:ext uri="{FF2B5EF4-FFF2-40B4-BE49-F238E27FC236}">
                <a16:creationId xmlns:a16="http://schemas.microsoft.com/office/drawing/2014/main" id="{19C4D7E0-BCCB-4459-B9AD-0392E1FD76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69280" y="1746309"/>
            <a:ext cx="2448340" cy="333542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45720" rIns="90000" bIns="0" anchor="t" anchorCtr="0"/>
          <a:lstStyle/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  <a:p>
            <a:pPr marL="0" marR="0" lvl="0" indent="0" algn="ctr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MBEDDED THROUGHOUT</a:t>
            </a:r>
          </a:p>
        </p:txBody>
      </p:sp>
      <p:sp>
        <p:nvSpPr>
          <p:cNvPr id="176" name="Rectangle 11">
            <a:extLst>
              <a:ext uri="{FF2B5EF4-FFF2-40B4-BE49-F238E27FC236}">
                <a16:creationId xmlns:a16="http://schemas.microsoft.com/office/drawing/2014/main" id="{87B697E7-6C37-476B-825E-9E19C5F34F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64140" y="2852920"/>
            <a:ext cx="1828800" cy="4572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YOUR CORNER</a:t>
            </a:r>
          </a:p>
        </p:txBody>
      </p:sp>
      <p:sp>
        <p:nvSpPr>
          <p:cNvPr id="177" name="Rectangle 11">
            <a:extLst>
              <a:ext uri="{FF2B5EF4-FFF2-40B4-BE49-F238E27FC236}">
                <a16:creationId xmlns:a16="http://schemas.microsoft.com/office/drawing/2014/main" id="{484E679B-C697-4181-B917-3A14DBB238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60476" y="3598160"/>
            <a:ext cx="1828800" cy="4572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VENTS</a:t>
            </a:r>
          </a:p>
        </p:txBody>
      </p:sp>
      <p:sp>
        <p:nvSpPr>
          <p:cNvPr id="178" name="Rectangle 10">
            <a:extLst>
              <a:ext uri="{FF2B5EF4-FFF2-40B4-BE49-F238E27FC236}">
                <a16:creationId xmlns:a16="http://schemas.microsoft.com/office/drawing/2014/main" id="{0050FD65-B97D-44F6-BD74-9F2FFFD88C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5198" y="2060810"/>
            <a:ext cx="731520" cy="73152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NEWS</a:t>
            </a:r>
          </a:p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FOR STUDENTS</a:t>
            </a:r>
          </a:p>
        </p:txBody>
      </p:sp>
      <p:sp>
        <p:nvSpPr>
          <p:cNvPr id="179" name="Rectangle 10">
            <a:extLst>
              <a:ext uri="{FF2B5EF4-FFF2-40B4-BE49-F238E27FC236}">
                <a16:creationId xmlns:a16="http://schemas.microsoft.com/office/drawing/2014/main" id="{3A9FE1CA-FA8E-4F29-9F6D-D7E11AA2B7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5425" y="3273560"/>
            <a:ext cx="731520" cy="731520"/>
          </a:xfrm>
          <a:prstGeom prst="rect">
            <a:avLst/>
          </a:prstGeom>
          <a:solidFill>
            <a:srgbClr val="82004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EXPLORE</a:t>
            </a:r>
          </a:p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OPICS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Calibri" pitchFamily="34" charset="0"/>
            </a:endParaRPr>
          </a:p>
        </p:txBody>
      </p:sp>
      <p:sp>
        <p:nvSpPr>
          <p:cNvPr id="180" name="Rectangle 10">
            <a:extLst>
              <a:ext uri="{FF2B5EF4-FFF2-40B4-BE49-F238E27FC236}">
                <a16:creationId xmlns:a16="http://schemas.microsoft.com/office/drawing/2014/main" id="{758C35E2-F8E8-4850-A2FC-A6B076D39ED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1465" y="4312043"/>
            <a:ext cx="731520" cy="73152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LEARN</a:t>
            </a:r>
          </a:p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THROUGH GAMES</a:t>
            </a:r>
          </a:p>
        </p:txBody>
      </p:sp>
      <p:sp>
        <p:nvSpPr>
          <p:cNvPr id="181" name="Rectangle 11">
            <a:extLst>
              <a:ext uri="{FF2B5EF4-FFF2-40B4-BE49-F238E27FC236}">
                <a16:creationId xmlns:a16="http://schemas.microsoft.com/office/drawing/2014/main" id="{D551D8D0-6F21-4A8E-A276-4757884F6A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01920" y="4670248"/>
            <a:ext cx="1463040" cy="41148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22860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GK</a:t>
            </a:r>
          </a:p>
        </p:txBody>
      </p:sp>
      <p:sp>
        <p:nvSpPr>
          <p:cNvPr id="182" name="Rectangle 10">
            <a:extLst>
              <a:ext uri="{FF2B5EF4-FFF2-40B4-BE49-F238E27FC236}">
                <a16:creationId xmlns:a16="http://schemas.microsoft.com/office/drawing/2014/main" id="{E2F51751-4538-4E55-B09F-E93242B94AF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29565" y="1751442"/>
            <a:ext cx="2743200" cy="4495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000" tIns="45720" rIns="90000" bIns="0" anchor="ctr" anchorCtr="0"/>
          <a:lstStyle/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MOVIES | MUSIC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CA6F6F-5594-4575-976A-65D4430FED1B}"/>
              </a:ext>
            </a:extLst>
          </p:cNvPr>
          <p:cNvSpPr/>
          <p:nvPr/>
        </p:nvSpPr>
        <p:spPr bwMode="auto">
          <a:xfrm>
            <a:off x="3198071" y="1746308"/>
            <a:ext cx="274320" cy="4114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 3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NK 1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77B30CAD-1598-4D1C-8BB9-6F90CFF23EEA}"/>
              </a:ext>
            </a:extLst>
          </p:cNvPr>
          <p:cNvSpPr/>
          <p:nvPr/>
        </p:nvSpPr>
        <p:spPr bwMode="auto">
          <a:xfrm>
            <a:off x="3200959" y="2190619"/>
            <a:ext cx="274320" cy="4114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 3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NK 2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4D7AC2A4-595A-4FC3-92CD-685C3F6BB887}"/>
              </a:ext>
            </a:extLst>
          </p:cNvPr>
          <p:cNvSpPr/>
          <p:nvPr/>
        </p:nvSpPr>
        <p:spPr bwMode="auto">
          <a:xfrm>
            <a:off x="3200726" y="2647213"/>
            <a:ext cx="274320" cy="4114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 3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NK 3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0E5BA654-DD7F-4799-897F-2691B4A10489}"/>
              </a:ext>
            </a:extLst>
          </p:cNvPr>
          <p:cNvSpPr/>
          <p:nvPr/>
        </p:nvSpPr>
        <p:spPr bwMode="auto">
          <a:xfrm>
            <a:off x="3196483" y="3209169"/>
            <a:ext cx="274320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E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P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6AA1C638-60F7-48DC-AF7F-B52A33F92A55}"/>
              </a:ext>
            </a:extLst>
          </p:cNvPr>
          <p:cNvSpPr/>
          <p:nvPr/>
        </p:nvSpPr>
        <p:spPr bwMode="auto">
          <a:xfrm>
            <a:off x="3197783" y="3651691"/>
            <a:ext cx="274320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E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P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4AFF5A4C-B6BF-4413-89B8-109667781879}"/>
              </a:ext>
            </a:extLst>
          </p:cNvPr>
          <p:cNvSpPr/>
          <p:nvPr/>
        </p:nvSpPr>
        <p:spPr bwMode="auto">
          <a:xfrm>
            <a:off x="1637026" y="3206400"/>
            <a:ext cx="274320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 3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NK 2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E322603F-52D7-4250-A4BB-A91A313D7BAF}"/>
              </a:ext>
            </a:extLst>
          </p:cNvPr>
          <p:cNvSpPr/>
          <p:nvPr/>
        </p:nvSpPr>
        <p:spPr bwMode="auto">
          <a:xfrm>
            <a:off x="1636793" y="3658238"/>
            <a:ext cx="274320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 3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NK 3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BD5D8D18-BF11-427B-9D1A-98C936740567}"/>
              </a:ext>
            </a:extLst>
          </p:cNvPr>
          <p:cNvSpPr/>
          <p:nvPr/>
        </p:nvSpPr>
        <p:spPr bwMode="auto">
          <a:xfrm>
            <a:off x="1639968" y="4214540"/>
            <a:ext cx="274320" cy="411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 3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NK 2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C6CD8B01-26A1-4F52-AC58-D6F9362CF5B7}"/>
              </a:ext>
            </a:extLst>
          </p:cNvPr>
          <p:cNvSpPr/>
          <p:nvPr/>
        </p:nvSpPr>
        <p:spPr bwMode="auto">
          <a:xfrm>
            <a:off x="1639735" y="4673750"/>
            <a:ext cx="274320" cy="411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 3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NK 3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F83B9D7-850C-4507-98A2-34E0AF6D159D}"/>
              </a:ext>
            </a:extLst>
          </p:cNvPr>
          <p:cNvSpPr/>
          <p:nvPr/>
        </p:nvSpPr>
        <p:spPr bwMode="auto">
          <a:xfrm>
            <a:off x="3198071" y="4215597"/>
            <a:ext cx="274320" cy="411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E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P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B88D84A-711D-4E4D-82E2-BD9B0AC7E424}"/>
              </a:ext>
            </a:extLst>
          </p:cNvPr>
          <p:cNvSpPr/>
          <p:nvPr/>
        </p:nvSpPr>
        <p:spPr bwMode="auto">
          <a:xfrm>
            <a:off x="3200483" y="4671003"/>
            <a:ext cx="274320" cy="411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E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P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88EC3C45-BDEF-405D-820D-F94352FCB97E}"/>
              </a:ext>
            </a:extLst>
          </p:cNvPr>
          <p:cNvSpPr/>
          <p:nvPr/>
        </p:nvSpPr>
        <p:spPr bwMode="auto">
          <a:xfrm>
            <a:off x="1642930" y="2200222"/>
            <a:ext cx="274320" cy="4114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 1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A7DAFF0-83B7-4218-AE55-517A86EA3934}"/>
              </a:ext>
            </a:extLst>
          </p:cNvPr>
          <p:cNvSpPr/>
          <p:nvPr/>
        </p:nvSpPr>
        <p:spPr bwMode="auto">
          <a:xfrm>
            <a:off x="1642697" y="2643918"/>
            <a:ext cx="274320" cy="4114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 1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536C28E5-B35C-4704-92E0-751A05528765}"/>
              </a:ext>
            </a:extLst>
          </p:cNvPr>
          <p:cNvSpPr/>
          <p:nvPr/>
        </p:nvSpPr>
        <p:spPr bwMode="auto">
          <a:xfrm>
            <a:off x="1638837" y="1743895"/>
            <a:ext cx="274320" cy="4114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E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P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DBB382B-5FD6-4330-A42E-4100018EC23B}"/>
              </a:ext>
            </a:extLst>
          </p:cNvPr>
          <p:cNvSpPr/>
          <p:nvPr/>
        </p:nvSpPr>
        <p:spPr bwMode="auto">
          <a:xfrm>
            <a:off x="7264139" y="2852920"/>
            <a:ext cx="274320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GC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8D70FC3-8A8C-44EF-A91C-C78EEB979B1A}"/>
              </a:ext>
            </a:extLst>
          </p:cNvPr>
          <p:cNvSpPr/>
          <p:nvPr/>
        </p:nvSpPr>
        <p:spPr bwMode="auto">
          <a:xfrm>
            <a:off x="7256941" y="3598160"/>
            <a:ext cx="274320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TY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Rectangle 29">
            <a:extLst>
              <a:ext uri="{FF2B5EF4-FFF2-40B4-BE49-F238E27FC236}">
                <a16:creationId xmlns:a16="http://schemas.microsoft.com/office/drawing/2014/main" id="{C92BCCD8-9B5D-408B-9BDD-A550F3C3D4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05565" y="1098376"/>
            <a:ext cx="1097281" cy="365759"/>
          </a:xfrm>
          <a:prstGeom prst="rect">
            <a:avLst/>
          </a:prstGeom>
          <a:solidFill>
            <a:srgbClr val="FFFF00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90000" tIns="0" rIns="90000" bIns="0" anchor="ctr" anchorCtr="0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 pitchFamily="34" charset="0"/>
              </a:rPr>
              <a:t>To-Be</a:t>
            </a:r>
            <a:endParaRPr kumimoji="0" lang="en-GB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 pitchFamily="34" charset="0"/>
            </a:endParaRPr>
          </a:p>
        </p:txBody>
      </p:sp>
      <p:sp>
        <p:nvSpPr>
          <p:cNvPr id="66" name="Content Placeholder 5">
            <a:extLst>
              <a:ext uri="{FF2B5EF4-FFF2-40B4-BE49-F238E27FC236}">
                <a16:creationId xmlns:a16="http://schemas.microsoft.com/office/drawing/2014/main" id="{D859C81D-01D6-4D62-9388-FFF586E4FE3E}"/>
              </a:ext>
            </a:extLst>
          </p:cNvPr>
          <p:cNvSpPr txBox="1">
            <a:spLocks/>
          </p:cNvSpPr>
          <p:nvPr/>
        </p:nvSpPr>
        <p:spPr bwMode="auto">
          <a:xfrm>
            <a:off x="2614768" y="6478641"/>
            <a:ext cx="4138482" cy="276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# Based on VOC1, VOC3, and discussion with the content team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AE6DA64-416F-4301-A066-52113D5E4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914700"/>
              </p:ext>
            </p:extLst>
          </p:nvPr>
        </p:nvGraphicFramePr>
        <p:xfrm>
          <a:off x="6757553" y="1746307"/>
          <a:ext cx="208280" cy="33354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2984008539"/>
                    </a:ext>
                  </a:extLst>
                </a:gridCol>
              </a:tblGrid>
              <a:tr h="3335421"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8075048"/>
                  </a:ext>
                </a:extLst>
              </a:tr>
            </a:tbl>
          </a:graphicData>
        </a:graphic>
      </p:graphicFrame>
      <p:sp>
        <p:nvSpPr>
          <p:cNvPr id="68" name="Rounded Rectangle 25">
            <a:extLst>
              <a:ext uri="{FF2B5EF4-FFF2-40B4-BE49-F238E27FC236}">
                <a16:creationId xmlns:a16="http://schemas.microsoft.com/office/drawing/2014/main" id="{ED79F86F-278D-4299-8967-088AB560BA0D}"/>
              </a:ext>
            </a:extLst>
          </p:cNvPr>
          <p:cNvSpPr/>
          <p:nvPr/>
        </p:nvSpPr>
        <p:spPr>
          <a:xfrm>
            <a:off x="1" y="5589300"/>
            <a:ext cx="9906002" cy="685800"/>
          </a:xfrm>
          <a:prstGeom prst="roundRect">
            <a:avLst>
              <a:gd name="adj" fmla="val 0"/>
            </a:avLst>
          </a:prstGeom>
          <a:solidFill>
            <a:schemeClr val="bg2">
              <a:lumMod val="7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4214516-D410-44AD-83B1-0D64E8F976DC}"/>
              </a:ext>
            </a:extLst>
          </p:cNvPr>
          <p:cNvSpPr/>
          <p:nvPr/>
        </p:nvSpPr>
        <p:spPr bwMode="auto">
          <a:xfrm>
            <a:off x="522292" y="5589300"/>
            <a:ext cx="1694328" cy="684846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Aft>
                <a:spcPts val="300"/>
              </a:spcAft>
            </a:pPr>
            <a:r>
              <a:rPr lang="en-US" b="1" dirty="0">
                <a:solidFill>
                  <a:srgbClr val="0B71AE"/>
                </a:solidFill>
                <a:cs typeface="+mn-cs"/>
              </a:rPr>
              <a:t>Recommendation</a:t>
            </a:r>
          </a:p>
        </p:txBody>
      </p:sp>
      <p:pic>
        <p:nvPicPr>
          <p:cNvPr id="70" name="Picture 4" descr="Image result for capgemini new logo">
            <a:extLst>
              <a:ext uri="{FF2B5EF4-FFF2-40B4-BE49-F238E27FC236}">
                <a16:creationId xmlns:a16="http://schemas.microsoft.com/office/drawing/2014/main" id="{3F9E7D03-76A1-42D8-858B-F44DAB539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3" y="570441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Rounded Rectangle 25">
            <a:extLst>
              <a:ext uri="{FF2B5EF4-FFF2-40B4-BE49-F238E27FC236}">
                <a16:creationId xmlns:a16="http://schemas.microsoft.com/office/drawing/2014/main" id="{524550CB-884C-422A-B64A-1C55007FA675}"/>
              </a:ext>
            </a:extLst>
          </p:cNvPr>
          <p:cNvSpPr/>
          <p:nvPr/>
        </p:nvSpPr>
        <p:spPr>
          <a:xfrm>
            <a:off x="2404078" y="5589300"/>
            <a:ext cx="6979630" cy="684846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n-US" b="1" dirty="0">
                <a:latin typeface="+mn-lt"/>
              </a:rPr>
              <a:t>Topic categories should be streamlined under the three proposed value propositions</a:t>
            </a:r>
          </a:p>
        </p:txBody>
      </p:sp>
    </p:spTree>
    <p:extLst>
      <p:ext uri="{BB962C8B-B14F-4D97-AF65-F5344CB8AC3E}">
        <p14:creationId xmlns:p14="http://schemas.microsoft.com/office/powerpoint/2010/main" val="38976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69" grpId="0"/>
      <p:bldP spid="7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3754615"/>
  <p:tag name="LINEFORESCHEMECOLOR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3754615"/>
  <p:tag name="LINEFORESCHEMECOLOR" val="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3754615"/>
  <p:tag name="LINEFORESCHEMECOLOR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3754615"/>
  <p:tag name="LINEFORESCHEMECOLOR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Blank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2_Blank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Blank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pt_Template_Capgemini">
  <a:themeElements>
    <a:clrScheme name="CC colours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D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smtClean="0">
            <a:ln>
              <a:noFill/>
            </a:ln>
            <a:effectLst/>
            <a:latin typeface="+mn-lt"/>
            <a:cs typeface="Arial" charset="0"/>
          </a:defRPr>
        </a:defPPr>
      </a:lst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Blank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7_Blank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Blank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Blank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Blank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Blank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AD7B918FAA454A8B90675A2224675C" ma:contentTypeVersion="" ma:contentTypeDescription="Create a new document." ma:contentTypeScope="" ma:versionID="feb65844f2e8a63f7a6fb7b46270f08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f3e687d5f98ee29b9cfcc2ff24550dc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5DCBEA7-9155-407B-B075-FF0505F840D3}">
  <ds:schemaRefs>
    <ds:schemaRef ds:uri="http://purl.org/dc/terms/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37DD215-81D1-4363-9DB2-03BD4E2D41F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FAD96DC-B950-4CC2-9BA4-F52E7A587A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450</TotalTime>
  <Words>1834</Words>
  <Application>Microsoft Office PowerPoint</Application>
  <PresentationFormat>A4 Paper (210x297 mm)</PresentationFormat>
  <Paragraphs>582</Paragraphs>
  <Slides>26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6" baseType="lpstr">
      <vt:lpstr>Arial Unicode MS</vt:lpstr>
      <vt:lpstr>Arial</vt:lpstr>
      <vt:lpstr>Calibri</vt:lpstr>
      <vt:lpstr>Calibri Light</vt:lpstr>
      <vt:lpstr>Garamond</vt:lpstr>
      <vt:lpstr>Webdings</vt:lpstr>
      <vt:lpstr>Wingdings</vt:lpstr>
      <vt:lpstr>5_Blank</vt:lpstr>
      <vt:lpstr>Closing slides</vt:lpstr>
      <vt:lpstr>ppt_Template_Capgemini</vt:lpstr>
      <vt:lpstr>6_Blank</vt:lpstr>
      <vt:lpstr>7_Blank</vt:lpstr>
      <vt:lpstr>8_Blank</vt:lpstr>
      <vt:lpstr>9_Blank</vt:lpstr>
      <vt:lpstr>10_Blank</vt:lpstr>
      <vt:lpstr>11_Blank</vt:lpstr>
      <vt:lpstr>12_Blank</vt:lpstr>
      <vt:lpstr>13_Blank</vt:lpstr>
      <vt:lpstr>Office Theme</vt:lpstr>
      <vt:lpstr>think-cell Slide</vt:lpstr>
      <vt:lpstr>TOIstudent - Digital Strategy and Roadmap Executive Deck</vt:lpstr>
      <vt:lpstr>Agenda</vt:lpstr>
      <vt:lpstr>During the 3rd VOC Survey, we conducted focus interviews of 87 students</vt:lpstr>
      <vt:lpstr>A Five Pillar Business Model Framework is Used for Recommending the Roadmap</vt:lpstr>
      <vt:lpstr>PowerPoint Presentation</vt:lpstr>
      <vt:lpstr>Print-Digital-Print Strategy (Use Cases) Ways to increase print-engagement using the digital channel</vt:lpstr>
      <vt:lpstr>Students have a strong preference for gamified, news, and topic oriented apps/ websites</vt:lpstr>
      <vt:lpstr>Availability of multiple CATEGORIES and sub-categories needs to be revisited</vt:lpstr>
      <vt:lpstr>The proposed model includes fewer CATEGORIES identified based on multiple internal discussion and voice of customer surveys</vt:lpstr>
      <vt:lpstr>Article Page and Login</vt:lpstr>
      <vt:lpstr>Times Group Resources Content, Website Widgets</vt:lpstr>
      <vt:lpstr>We have identified multiple use cases for integrating Times Points </vt:lpstr>
      <vt:lpstr>PowerPoint Presentation</vt:lpstr>
      <vt:lpstr>Revenue Model – Ways to Monetize the Website</vt:lpstr>
      <vt:lpstr>PowerPoint Presentation</vt:lpstr>
      <vt:lpstr>CMS Comparison and Analysis </vt:lpstr>
      <vt:lpstr>PowerPoint Presentation</vt:lpstr>
      <vt:lpstr>PowerPoint Presentation</vt:lpstr>
      <vt:lpstr>Content Strategy Student News, Topic Oriented Content, Gamification of Learning</vt:lpstr>
      <vt:lpstr>Personalization and Gamification Tools</vt:lpstr>
      <vt:lpstr>CMS Comparison and Analysis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Istudent Digital Strategy and Roadmap Proposal</dc:title>
  <dc:creator>shbhave</dc:creator>
  <cp:lastModifiedBy>Sharma, Rajesh</cp:lastModifiedBy>
  <cp:revision>3714</cp:revision>
  <cp:lastPrinted>2011-09-22T15:06:49Z</cp:lastPrinted>
  <dcterms:created xsi:type="dcterms:W3CDTF">2015-06-30T10:48:41Z</dcterms:created>
  <dcterms:modified xsi:type="dcterms:W3CDTF">2017-12-21T06:5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AD7B918FAA454A8B90675A2224675C</vt:lpwstr>
  </property>
</Properties>
</file>